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3" r:id="rId4"/>
  </p:sldMasterIdLst>
  <p:notesMasterIdLst>
    <p:notesMasterId r:id="rId18"/>
  </p:notesMasterIdLst>
  <p:handoutMasterIdLst>
    <p:handoutMasterId r:id="rId19"/>
  </p:handoutMasterIdLst>
  <p:sldIdLst>
    <p:sldId id="256" r:id="rId5"/>
    <p:sldId id="262" r:id="rId6"/>
    <p:sldId id="263" r:id="rId7"/>
    <p:sldId id="267" r:id="rId8"/>
    <p:sldId id="275" r:id="rId9"/>
    <p:sldId id="268" r:id="rId10"/>
    <p:sldId id="264" r:id="rId11"/>
    <p:sldId id="273" r:id="rId12"/>
    <p:sldId id="274" r:id="rId13"/>
    <p:sldId id="266" r:id="rId14"/>
    <p:sldId id="269" r:id="rId15"/>
    <p:sldId id="270" r:id="rId16"/>
    <p:sldId id="272" r:id="rId17"/>
  </p:sldIdLst>
  <p:sldSz cx="12192000" cy="6858000"/>
  <p:notesSz cx="6858000" cy="9144000"/>
  <p:custDataLst>
    <p:tags r:id="rId20"/>
  </p:custDataLst>
  <p:defaultTextStyle>
    <a:defPPr>
      <a:defRPr lang="en-US"/>
    </a:defPPr>
    <a:lvl1pPr marL="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228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457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685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9144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1430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1371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1600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1828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A0000"/>
    <a:srgbClr val="020000"/>
    <a:srgbClr val="010000"/>
    <a:srgbClr val="CEFFDF"/>
    <a:srgbClr val="FFFFFF"/>
    <a:srgbClr val="0000FF"/>
    <a:srgbClr val="0000FE"/>
    <a:srgbClr val="524B4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ddels stil 2 – uthev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993" autoAdjust="0"/>
    <p:restoredTop sz="94660"/>
  </p:normalViewPr>
  <p:slideViewPr>
    <p:cSldViewPr snapToGrid="0">
      <p:cViewPr varScale="1">
        <p:scale>
          <a:sx n="80" d="100"/>
          <a:sy n="80" d="100"/>
        </p:scale>
        <p:origin x="60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3" d="100"/>
          <a:sy n="83" d="100"/>
        </p:scale>
        <p:origin x="3180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C0CBB1AE-B262-4787-8C52-A05D0CE6049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73FD16A-3B73-4A4E-801F-F604E6F8DCE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35DD0C3-4885-4BAA-9AA1-C9918694A47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8D4A009-C602-41F4-8272-F25F5B05B5A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392294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5051F8B-E38A-4262-93D6-EEE8CE2CF8CB}" type="datetimeFigureOut">
              <a:rPr lang="en-US" smtClean="0"/>
              <a:t>3/24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A72985F-36CD-4D87-8C89-674A558E80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42915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32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263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395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526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657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789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920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052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image" Target="../media/image4.png"/><Relationship Id="rId7" Type="http://schemas.openxmlformats.org/officeDocument/2006/relationships/image" Target="../media/image6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svg"/><Relationship Id="rId5" Type="http://schemas.openxmlformats.org/officeDocument/2006/relationships/image" Target="../media/image5.png"/><Relationship Id="rId4" Type="http://schemas.openxmlformats.org/officeDocument/2006/relationships/image" Target="../media/image6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image" Target="../media/image10.svg"/><Relationship Id="rId7" Type="http://schemas.openxmlformats.org/officeDocument/2006/relationships/image" Target="../media/image6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png"/><Relationship Id="rId5" Type="http://schemas.openxmlformats.org/officeDocument/2006/relationships/image" Target="../media/image12.svg"/><Relationship Id="rId4" Type="http://schemas.openxmlformats.org/officeDocument/2006/relationships/image" Target="../media/image7.png"/><Relationship Id="rId9" Type="http://schemas.openxmlformats.org/officeDocument/2006/relationships/image" Target="../media/image8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image" Target="../media/image6.png"/><Relationship Id="rId7" Type="http://schemas.openxmlformats.org/officeDocument/2006/relationships/image" Target="../media/image4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svg"/><Relationship Id="rId5" Type="http://schemas.openxmlformats.org/officeDocument/2006/relationships/image" Target="../media/image7.png"/><Relationship Id="rId10" Type="http://schemas.openxmlformats.org/officeDocument/2006/relationships/image" Target="../media/image8.svg"/><Relationship Id="rId4" Type="http://schemas.openxmlformats.org/officeDocument/2006/relationships/image" Target="../media/image10.svg"/><Relationship Id="rId9" Type="http://schemas.openxmlformats.org/officeDocument/2006/relationships/image" Target="../media/image5.pn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12.svg"/><Relationship Id="rId7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6.svg"/><Relationship Id="rId4" Type="http://schemas.openxmlformats.org/officeDocument/2006/relationships/image" Target="../media/image4.png"/><Relationship Id="rId9" Type="http://schemas.openxmlformats.org/officeDocument/2006/relationships/image" Target="../media/image10.svg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image" Target="../media/image10.svg"/><Relationship Id="rId7" Type="http://schemas.openxmlformats.org/officeDocument/2006/relationships/image" Target="../media/image6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png"/><Relationship Id="rId5" Type="http://schemas.openxmlformats.org/officeDocument/2006/relationships/image" Target="../media/image12.svg"/><Relationship Id="rId4" Type="http://schemas.openxmlformats.org/officeDocument/2006/relationships/image" Target="../media/image7.png"/><Relationship Id="rId9" Type="http://schemas.openxmlformats.org/officeDocument/2006/relationships/image" Target="../media/image8.svg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0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9.jp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6.sv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6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halv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0E962FF3-951D-4441-9C7D-501471E5888D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14" name="addin_colorbox" hidden="1">
            <a:extLst>
              <a:ext uri="{FF2B5EF4-FFF2-40B4-BE49-F238E27FC236}">
                <a16:creationId xmlns:a16="http://schemas.microsoft.com/office/drawing/2014/main" id="{B34046E2-E0A0-4315-9411-04EBA19D54D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EB9E8B29-78FF-422D-B648-7D4F0D403082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918F58FB-9B03-413E-989C-AE087C74A79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16BC30A-E2A3-4BB3-8175-D14FBA97BB4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189797EA-4203-48ED-9B9C-9481B1311A5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D3C84601-A4D0-4B48-876F-9DC17367A2A1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2" name="logo_hvit" descr="UiO Segl" hidden="1">
            <a:extLst>
              <a:ext uri="{FF2B5EF4-FFF2-40B4-BE49-F238E27FC236}">
                <a16:creationId xmlns:a16="http://schemas.microsoft.com/office/drawing/2014/main" id="{9312E79A-63CD-41D4-8EA6-B9BD7EBEEAD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3" name="logo_sort" descr="UiO Segl" hidden="1">
            <a:extLst>
              <a:ext uri="{FF2B5EF4-FFF2-40B4-BE49-F238E27FC236}">
                <a16:creationId xmlns:a16="http://schemas.microsoft.com/office/drawing/2014/main" id="{CCD2A0AF-6987-472B-AB0A-FE4E51B298B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4" name="addin_colorlist" hidden="1">
            <a:extLst>
              <a:ext uri="{FF2B5EF4-FFF2-40B4-BE49-F238E27FC236}">
                <a16:creationId xmlns:a16="http://schemas.microsoft.com/office/drawing/2014/main" id="{FD548E61-D022-4178-8722-46839AB856D2}"/>
              </a:ext>
            </a:extLst>
          </p:cNvPr>
          <p:cNvSpPr/>
          <p:nvPr userDrawn="1"/>
        </p:nvSpPr>
        <p:spPr>
          <a:xfrm>
            <a:off x="152400" y="-13141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7AED3548-5867-47BB-8575-A83E0A9CE3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6112" y="381854"/>
            <a:ext cx="5619582" cy="1116919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xmlns="" r:embed="rId8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1" name="Text Placeholder 4" descr="UiO segl">
            <a:extLst>
              <a:ext uri="{FF2B5EF4-FFF2-40B4-BE49-F238E27FC236}">
                <a16:creationId xmlns:a16="http://schemas.microsoft.com/office/drawing/2014/main" id="{D397E638-588F-47C4-8318-DB30D79BCF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DC827CE2-8409-4B09-A9E5-74716A2BA2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3333ACA-8377-46D1-9D90-73F9F4A0D07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9038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31" name="Subtitle 2">
            <a:extLst>
              <a:ext uri="{FF2B5EF4-FFF2-40B4-BE49-F238E27FC236}">
                <a16:creationId xmlns:a16="http://schemas.microsoft.com/office/drawing/2014/main" id="{73782A73-0164-4D2C-BAD5-DF53C4F800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0C9865C8-230B-42BE-8B05-ECBF9A085E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6371C43A-1652-4674-9385-53CBD32109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8" name="Date Placeholder 3">
            <a:extLst>
              <a:ext uri="{FF2B5EF4-FFF2-40B4-BE49-F238E27FC236}">
                <a16:creationId xmlns:a16="http://schemas.microsoft.com/office/drawing/2014/main" id="{A1654625-2F9D-43A8-9B19-A1501B2C4B8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54692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6E45B275-2917-4791-9D93-B119E57F1E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542A6449-D96E-414F-A604-C4E12FC569E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3E20FF9-F861-400C-878F-01B66486016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D729F8AC-6A5E-427F-BADE-EA072C6164C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548DDD7D-1EE4-480A-9DFC-6999E44EAAF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94EC4BF0-912D-4C74-897D-7058B1C43F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4387C63E-1139-41C5-A5DA-C7934430189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77782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B080593B-46D5-4272-829F-0AB9BB0A7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09880" y="0"/>
            <a:ext cx="5982120" cy="685800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27D749C7-8972-4648-8357-FE945BD112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5046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AA9DF7D4-90D1-427E-86F5-96B8E6DDF5C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05359BE4-B9E6-44C9-994B-4B43BA31858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9038" y="653143"/>
            <a:ext cx="5075367" cy="1204686"/>
          </a:xfrm>
        </p:spPr>
        <p:txBody>
          <a:bodyPr/>
          <a:lstStyle>
            <a:lvl1pPr marL="0" indent="0">
              <a:buNone/>
              <a:defRPr lang="en-US" sz="200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dirty="0"/>
              <a:t>Navn på institutt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B8A0E4F-1BA9-45F5-9553-E579F5F1C2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9039" y="2302849"/>
            <a:ext cx="5080128" cy="1702414"/>
          </a:xfrm>
        </p:spPr>
        <p:txBody>
          <a:bodyPr/>
          <a:lstStyle>
            <a:lvl1pPr marL="0" indent="0">
              <a:buNone/>
              <a:defRPr sz="45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8EA911F-B545-4F74-AF42-9EC2B355D8F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4E55111D-AB70-4D2B-9C10-0B91F296CDF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1DB45DBF-1D97-4017-83BE-AD48141222A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88916788-1A25-4BF7-B2F3-11CED5D74CB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379758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F9CB4958-81B1-49B9-BBDA-D042DC89C1F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F5D4F5D-6A45-4660-B498-EC62A1753C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02667" y="1768008"/>
            <a:ext cx="5863168" cy="435133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4pPr>
          </a:lstStyle>
          <a:p>
            <a:pPr lvl="0"/>
            <a:r>
              <a:rPr lang="nb-NO" dirty="0"/>
              <a:t>Punkt A</a:t>
            </a:r>
          </a:p>
          <a:p>
            <a:pPr lvl="0"/>
            <a:r>
              <a:rPr lang="nb-NO" dirty="0"/>
              <a:t>Punkt B</a:t>
            </a:r>
          </a:p>
          <a:p>
            <a:pPr lvl="0"/>
            <a:r>
              <a:rPr lang="nb-NO" dirty="0"/>
              <a:t>Punkt C</a:t>
            </a:r>
          </a:p>
          <a:p>
            <a:pPr lvl="0"/>
            <a:r>
              <a:rPr lang="nb-NO" dirty="0"/>
              <a:t>Punkt 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05658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02B12D4E-956E-456A-B250-54F8DAC4F518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9E40B9F-ECB7-4387-A58C-0A496B930AD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36716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A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36E426CF-9990-43F5-BE14-226088D8A7B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13844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B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B679225E-A5E2-4DC8-9837-7BCA23C8E40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736715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C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A833A43-18E3-4392-918C-09F8E26D369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413844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D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23B8277-88D5-4007-B32D-B587FB6C14E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736714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E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2366E2B9-433F-4D84-9677-520FBB3E32B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13845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F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317262674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DBCC00A-19CF-41BF-8147-46CE1C6A77C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 dirty="0"/>
              <a:t>Trykk - &gt; Sett inn -&gt; Bilde for å endre eller sette inn bilde</a:t>
            </a:r>
            <a:endParaRPr lang="en-US" dirty="0"/>
          </a:p>
        </p:txBody>
      </p:sp>
      <p:sp>
        <p:nvSpPr>
          <p:cNvPr id="8" name="Text Placeholder 4" descr="Logo Universitetet i oslo">
            <a:extLst>
              <a:ext uri="{FF2B5EF4-FFF2-40B4-BE49-F238E27FC236}">
                <a16:creationId xmlns:a16="http://schemas.microsoft.com/office/drawing/2014/main" id="{CB6C8A24-C7F7-483C-B347-EFA80560FB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0DAEC6C7-85EA-449B-8EE8-2D97BF53ED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283FD976-C7D4-4015-A9BA-91E02E673E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addin_colorlist" hidden="1">
            <a:extLst>
              <a:ext uri="{FF2B5EF4-FFF2-40B4-BE49-F238E27FC236}">
                <a16:creationId xmlns:a16="http://schemas.microsoft.com/office/drawing/2014/main" id="{F6C04A44-E476-4A49-B738-EE2D47D4BAD9}"/>
              </a:ext>
            </a:extLst>
          </p:cNvPr>
          <p:cNvSpPr/>
          <p:nvPr userDrawn="1"/>
        </p:nvSpPr>
        <p:spPr>
          <a:xfrm>
            <a:off x="0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d1, sid2, sid3, sid4</a:t>
            </a:r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27C08BAF-0936-474D-B97E-5B57BFE4B3DC}"/>
              </a:ext>
            </a:extLst>
          </p:cNvPr>
          <p:cNvSpPr/>
          <p:nvPr userDrawn="1"/>
        </p:nvSpPr>
        <p:spPr>
          <a:xfrm>
            <a:off x="4973338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1" name="addin_title" hidden="1">
            <a:extLst>
              <a:ext uri="{FF2B5EF4-FFF2-40B4-BE49-F238E27FC236}">
                <a16:creationId xmlns:a16="http://schemas.microsoft.com/office/drawing/2014/main" id="{CD588095-EB6E-4EE9-A470-1FC6B276AA84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2" name="addin_text" hidden="1">
            <a:extLst>
              <a:ext uri="{FF2B5EF4-FFF2-40B4-BE49-F238E27FC236}">
                <a16:creationId xmlns:a16="http://schemas.microsoft.com/office/drawing/2014/main" id="{01792D08-5194-467E-A9CB-E87CD6F0CF3C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4" name="addin_image" hidden="1">
            <a:extLst>
              <a:ext uri="{FF2B5EF4-FFF2-40B4-BE49-F238E27FC236}">
                <a16:creationId xmlns:a16="http://schemas.microsoft.com/office/drawing/2014/main" id="{7E0FF7D7-FC31-4FA1-B98D-9F5E73E0ED06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5" name="addin_background" hidden="1">
            <a:extLst>
              <a:ext uri="{FF2B5EF4-FFF2-40B4-BE49-F238E27FC236}">
                <a16:creationId xmlns:a16="http://schemas.microsoft.com/office/drawing/2014/main" id="{D73E79DB-AFAF-477A-B39A-3600CE59C83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16" name="addin_logo" hidden="1">
            <a:extLst>
              <a:ext uri="{FF2B5EF4-FFF2-40B4-BE49-F238E27FC236}">
                <a16:creationId xmlns:a16="http://schemas.microsoft.com/office/drawing/2014/main" id="{6D0ECAE0-D83D-477F-8858-4811F35FC31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7DF5643-8F24-4F16-9356-F129900A4A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3151019"/>
            <a:ext cx="9144000" cy="1878763"/>
          </a:xfrm>
        </p:spPr>
        <p:txBody>
          <a:bodyPr wrap="none" anchor="t"/>
          <a:lstStyle>
            <a:lvl1pPr algn="ctr">
              <a:defRPr sz="4501">
                <a:highlight>
                  <a:srgbClr val="FFFFFF"/>
                </a:highlight>
              </a:defRPr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545301A6-9B63-4AF8-9A67-C362499DE55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1144304"/>
            <a:ext cx="9144000" cy="1655762"/>
          </a:xfrm>
        </p:spPr>
        <p:txBody>
          <a:bodyPr wrap="none" bIns="0" anchor="b"/>
          <a:lstStyle>
            <a:lvl1pPr marL="0" indent="0" algn="ctr">
              <a:buNone/>
              <a:defRPr sz="1750"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35868524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t 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10FAE04-E853-4650-A24D-5F754E1D5AE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chemeClr val="accent6"/>
          </a:solidFill>
        </p:spPr>
        <p:txBody>
          <a:bodyPr lIns="0" tIns="0" rIns="0" bIns="0"/>
          <a:lstStyle>
            <a:lvl1pPr>
              <a:buNone/>
              <a:defRPr>
                <a:solidFill>
                  <a:schemeClr val="bg1"/>
                </a:solidFill>
              </a:defRPr>
            </a:lvl1pPr>
          </a:lstStyle>
          <a:p>
            <a:pPr marL="125438" marR="0" lvl="0" indent="-125438" algn="l" defTabSz="914446" rtl="0" eaLnBrk="1" fontAlgn="auto" latinLnBrk="0" hangingPunct="1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dirty="0"/>
              <a:t>Trykk - &gt; Sett inn -&gt; Bilde for å endre eller sette inn bilde</a:t>
            </a:r>
            <a:endParaRPr lang="en-US" dirty="0"/>
          </a:p>
          <a:p>
            <a:endParaRPr lang="en-US" dirty="0"/>
          </a:p>
        </p:txBody>
      </p:sp>
      <p:sp>
        <p:nvSpPr>
          <p:cNvPr id="11" name="Text Placeholder 4" descr="Logo Universitetet i oslo">
            <a:extLst>
              <a:ext uri="{FF2B5EF4-FFF2-40B4-BE49-F238E27FC236}">
                <a16:creationId xmlns:a16="http://schemas.microsoft.com/office/drawing/2014/main" id="{85E9E616-9857-4793-9543-97601CFB29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3688BA85-E873-4370-B3DC-1DB3D6805327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tk1, sitk2, sitk3</a:t>
            </a:r>
          </a:p>
        </p:txBody>
      </p:sp>
      <p:sp>
        <p:nvSpPr>
          <p:cNvPr id="5" name="addin_colorbox" hidden="1">
            <a:extLst>
              <a:ext uri="{FF2B5EF4-FFF2-40B4-BE49-F238E27FC236}">
                <a16:creationId xmlns:a16="http://schemas.microsoft.com/office/drawing/2014/main" id="{01750E1E-149D-4737-BB50-E180FD96210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6" name="addin_title" hidden="1">
            <a:extLst>
              <a:ext uri="{FF2B5EF4-FFF2-40B4-BE49-F238E27FC236}">
                <a16:creationId xmlns:a16="http://schemas.microsoft.com/office/drawing/2014/main" id="{8A95C1E6-41C2-4B63-A678-1197B885A271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7" name="addin_text" hidden="1">
            <a:extLst>
              <a:ext uri="{FF2B5EF4-FFF2-40B4-BE49-F238E27FC236}">
                <a16:creationId xmlns:a16="http://schemas.microsoft.com/office/drawing/2014/main" id="{88900728-1D9A-4CFE-BD46-77F03BBF68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8" name="addin_image" hidden="1">
            <a:extLst>
              <a:ext uri="{FF2B5EF4-FFF2-40B4-BE49-F238E27FC236}">
                <a16:creationId xmlns:a16="http://schemas.microsoft.com/office/drawing/2014/main" id="{71F63DE9-1A9D-416E-8BF1-5DDBAC2C366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9" name="addin_grouplist" hidden="1">
            <a:extLst>
              <a:ext uri="{FF2B5EF4-FFF2-40B4-BE49-F238E27FC236}">
                <a16:creationId xmlns:a16="http://schemas.microsoft.com/office/drawing/2014/main" id="{55453450-7C5E-47ED-8FB9-95BB5C190194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0" name="addin_background" hidden="1">
            <a:extLst>
              <a:ext uri="{FF2B5EF4-FFF2-40B4-BE49-F238E27FC236}">
                <a16:creationId xmlns:a16="http://schemas.microsoft.com/office/drawing/2014/main" id="{19DE1B7D-2015-4D3D-81DA-BE1C0B884B8C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2DACBF1F-1831-46CB-8E94-DAC5CC4C8A53}"/>
              </a:ext>
            </a:extLst>
          </p:cNvPr>
          <p:cNvSpPr/>
          <p:nvPr userDrawn="1"/>
        </p:nvSpPr>
        <p:spPr>
          <a:xfrm>
            <a:off x="2583335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tk1, sitk2, sitk3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08780C0B-BBD9-4BF7-B461-4D609C762B61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3E5FC6D0-29E6-4763-9016-B07C6C2F674E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E5048523-44FB-402D-AF9A-189895D758AB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4EBCC3D3-FB5E-4C44-BD2A-4765289129B6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A21182DD-62B1-48E3-8A1E-30E0E49F858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DA65AA7C-2435-43EC-9E54-A952934DE561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057638"/>
            <a:ext cx="9144000" cy="2733991"/>
          </a:xfrm>
        </p:spPr>
        <p:txBody>
          <a:bodyPr anchor="ctr"/>
          <a:lstStyle>
            <a:lvl1pPr algn="ctr">
              <a:lnSpc>
                <a:spcPct val="100000"/>
              </a:lnSpc>
              <a:defRPr sz="4501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r>
              <a:rPr lang="nb-NO" noProof="0" dirty="0"/>
              <a:t>Sitat</a:t>
            </a:r>
          </a:p>
        </p:txBody>
      </p:sp>
    </p:spTree>
    <p:extLst>
      <p:ext uri="{BB962C8B-B14F-4D97-AF65-F5344CB8AC3E}">
        <p14:creationId xmlns:p14="http://schemas.microsoft.com/office/powerpoint/2010/main" val="133147166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tekstboks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82207EF-1A49-4BEC-B35C-772E1E2EFECD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3134CF4-4951-4824-A36D-2B6BAEF472C0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2E7BD1C-79CF-4E20-AC8F-E2817B8B3D12}"/>
              </a:ext>
            </a:extLst>
          </p:cNvPr>
          <p:cNvSpPr/>
          <p:nvPr userDrawn="1"/>
        </p:nvSpPr>
        <p:spPr>
          <a:xfrm>
            <a:off x="540068" y="0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AD8EE3EE-092D-4B85-A85F-E434A4CB9A2F}"/>
              </a:ext>
            </a:extLst>
          </p:cNvPr>
          <p:cNvSpPr/>
          <p:nvPr userDrawn="1"/>
        </p:nvSpPr>
        <p:spPr>
          <a:xfrm>
            <a:off x="0" y="337731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33BC282A-3B9D-407C-B9DA-F5A304A0AE2D}"/>
              </a:ext>
            </a:extLst>
          </p:cNvPr>
          <p:cNvSpPr/>
          <p:nvPr userDrawn="1"/>
        </p:nvSpPr>
        <p:spPr>
          <a:xfrm>
            <a:off x="11831955" y="482939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7DC556F4-6EA1-44E3-8D60-1261088C71C7}"/>
              </a:ext>
            </a:extLst>
          </p:cNvPr>
          <p:cNvSpPr/>
          <p:nvPr userDrawn="1"/>
        </p:nvSpPr>
        <p:spPr>
          <a:xfrm>
            <a:off x="1" y="902703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74E62C8F-7CC6-4F3A-88DB-ADB3F3D757CE}"/>
              </a:ext>
            </a:extLst>
          </p:cNvPr>
          <p:cNvSpPr/>
          <p:nvPr userDrawn="1"/>
        </p:nvSpPr>
        <p:spPr>
          <a:xfrm>
            <a:off x="1" y="1577475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FACBECEF-96F4-495B-97F3-507EB7C28F66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114C26A2-23E4-405F-85D9-DD9C9C54205E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5" name="addin_title" hidden="1">
            <a:extLst>
              <a:ext uri="{FF2B5EF4-FFF2-40B4-BE49-F238E27FC236}">
                <a16:creationId xmlns:a16="http://schemas.microsoft.com/office/drawing/2014/main" id="{5EC6F0C5-ECE2-4737-B2DF-8CF464166E20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421DB65A-BA84-4BFC-81D8-7771342E61A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40EF0D78-486F-42E9-A20F-95C640555A5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DA2EA4FB-50DF-4085-A18C-D17518B88B8F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2409EBBA-4570-4718-9302-6A3DA50E3B8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3996591B-A5CC-4B02-887B-B726000BC3C6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2" name="addin_background" hidden="1">
            <a:extLst>
              <a:ext uri="{FF2B5EF4-FFF2-40B4-BE49-F238E27FC236}">
                <a16:creationId xmlns:a16="http://schemas.microsoft.com/office/drawing/2014/main" id="{C04B5D41-8647-414B-A9F9-26967E7A232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56C04064-582F-4194-A0D4-8D33390FD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47" name="Subtitle 2">
            <a:extLst>
              <a:ext uri="{FF2B5EF4-FFF2-40B4-BE49-F238E27FC236}">
                <a16:creationId xmlns:a16="http://schemas.microsoft.com/office/drawing/2014/main" id="{A3A431AF-BD4A-47F9-9ACD-109F83F1426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387AD4FF-2A17-41D2-9989-72E3EE53EDB7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4" y="1757498"/>
            <a:ext cx="11471910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82914418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tekstbokser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7AAA207-8E55-477B-AF05-92D6F597A5B7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A7972B2-D533-401B-8556-469D52E0F4DD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1F56F7F2-0BBD-484C-9008-B8C0CB7D240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3" name="addin_title" hidden="1">
            <a:extLst>
              <a:ext uri="{FF2B5EF4-FFF2-40B4-BE49-F238E27FC236}">
                <a16:creationId xmlns:a16="http://schemas.microsoft.com/office/drawing/2014/main" id="{BE45413D-3777-488C-9081-98CD311209B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4" name="addin_text" hidden="1">
            <a:extLst>
              <a:ext uri="{FF2B5EF4-FFF2-40B4-BE49-F238E27FC236}">
                <a16:creationId xmlns:a16="http://schemas.microsoft.com/office/drawing/2014/main" id="{4BD0960F-BF1F-4126-A3F8-B418D42FDE7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5" name="addin_image" hidden="1">
            <a:extLst>
              <a:ext uri="{FF2B5EF4-FFF2-40B4-BE49-F238E27FC236}">
                <a16:creationId xmlns:a16="http://schemas.microsoft.com/office/drawing/2014/main" id="{C39DDD84-E44A-46C8-A71C-34C426FB8C92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6" name="addin_grouplist" hidden="1">
            <a:extLst>
              <a:ext uri="{FF2B5EF4-FFF2-40B4-BE49-F238E27FC236}">
                <a16:creationId xmlns:a16="http://schemas.microsoft.com/office/drawing/2014/main" id="{AEDE561B-E28A-4695-BEA3-2B6278A31E9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7" name="addin_logo" hidden="1">
            <a:extLst>
              <a:ext uri="{FF2B5EF4-FFF2-40B4-BE49-F238E27FC236}">
                <a16:creationId xmlns:a16="http://schemas.microsoft.com/office/drawing/2014/main" id="{2AAC8E8D-4887-45BD-9C03-DA53C4A7934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8" name="addin_fillplaceholders" hidden="1">
            <a:extLst>
              <a:ext uri="{FF2B5EF4-FFF2-40B4-BE49-F238E27FC236}">
                <a16:creationId xmlns:a16="http://schemas.microsoft.com/office/drawing/2014/main" id="{CBAE5DC2-094D-4983-A93E-68A430FDFDA5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19" name="addin_colorlist" hidden="1">
            <a:extLst>
              <a:ext uri="{FF2B5EF4-FFF2-40B4-BE49-F238E27FC236}">
                <a16:creationId xmlns:a16="http://schemas.microsoft.com/office/drawing/2014/main" id="{9821EDDB-6D76-4A0C-A80A-8E839D9FFA7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0" name="addin_background" hidden="1">
            <a:extLst>
              <a:ext uri="{FF2B5EF4-FFF2-40B4-BE49-F238E27FC236}">
                <a16:creationId xmlns:a16="http://schemas.microsoft.com/office/drawing/2014/main" id="{F537A33B-63F9-4866-8A22-F1702265B04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9602F61A-9452-4566-BD44-010DF25750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3374CAD7-B62E-4CF1-AD5A-43232DD10E25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5" y="1082726"/>
            <a:ext cx="5489213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E8C4F134-43A3-438E-88E2-D8FF0EDE7A13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5" y="1757498"/>
            <a:ext cx="5489213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4003BB-F04C-4A8B-BC54-5FDD5D30356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342741" y="1076623"/>
            <a:ext cx="5489213" cy="494749"/>
          </a:xfrm>
        </p:spPr>
        <p:txBody>
          <a:bodyPr/>
          <a:lstStyle>
            <a:lvl1pPr marL="0" indent="0"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A0524D80-7434-47CB-8898-52900F44078A}"/>
              </a:ext>
            </a:extLst>
          </p:cNvPr>
          <p:cNvSpPr>
            <a:spLocks noGrp="1"/>
          </p:cNvSpPr>
          <p:nvPr>
            <p:ph sz="half" idx="31"/>
          </p:nvPr>
        </p:nvSpPr>
        <p:spPr>
          <a:xfrm>
            <a:off x="6342741" y="1757498"/>
            <a:ext cx="5489213" cy="4301395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312001611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høy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E9125386-EE30-45FB-BA78-8A032E308E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3E75BE49-6169-4B52-B8E0-67F87720CC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5489214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DF549456-9E1A-4F2D-AB8B-11B375FF1CCA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5489214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2305472-2CA1-4284-9F6B-FAE83898D055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360044" y="1757499"/>
            <a:ext cx="5489214" cy="430110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7679219" y="360045"/>
            <a:ext cx="4152735" cy="5325998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51192628-F328-404D-8EFE-7A0B924C214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679218" y="5870278"/>
            <a:ext cx="4152735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FFC296E0-39D4-4AF3-8EEB-7A54677345E2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89F5F7C1-30CB-486A-A1AB-777F98EC9EB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146F2B9F-A380-47D0-81A1-BF6A05CCD5A3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B18746CE-F568-4AB2-858E-6BA5E8D117B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A968A5A2-9154-4A90-8322-5433B94336E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B3EE9CD2-1CBB-48EF-8EDE-E560A4F427D0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69CC9A44-6E07-4DB9-A3DF-6C14488300B1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2" name="addin_colorlist" hidden="1">
            <a:extLst>
              <a:ext uri="{FF2B5EF4-FFF2-40B4-BE49-F238E27FC236}">
                <a16:creationId xmlns:a16="http://schemas.microsoft.com/office/drawing/2014/main" id="{216821DD-975F-4F3D-9D04-19B2277FA237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3" name="addin_background" hidden="1">
            <a:extLst>
              <a:ext uri="{FF2B5EF4-FFF2-40B4-BE49-F238E27FC236}">
                <a16:creationId xmlns:a16="http://schemas.microsoft.com/office/drawing/2014/main" id="{982A5CB8-CD5B-4CA2-8CE7-B095D5C741A5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94998618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677B9B8B-41DA-40B7-A3EE-81571DB48A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addin_colorbox" hidden="1">
            <a:extLst>
              <a:ext uri="{FF2B5EF4-FFF2-40B4-BE49-F238E27FC236}">
                <a16:creationId xmlns:a16="http://schemas.microsoft.com/office/drawing/2014/main" id="{03278B68-CC85-45D7-BC07-7A767805E25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0" name="addin_title" hidden="1">
            <a:extLst>
              <a:ext uri="{FF2B5EF4-FFF2-40B4-BE49-F238E27FC236}">
                <a16:creationId xmlns:a16="http://schemas.microsoft.com/office/drawing/2014/main" id="{8FCE75F0-EE57-496E-8BA4-489EBB8E5AF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1" name="addin_text" hidden="1">
            <a:extLst>
              <a:ext uri="{FF2B5EF4-FFF2-40B4-BE49-F238E27FC236}">
                <a16:creationId xmlns:a16="http://schemas.microsoft.com/office/drawing/2014/main" id="{269FBB4E-8C52-436E-BA48-6940B6731E12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2" name="addin_image" hidden="1">
            <a:extLst>
              <a:ext uri="{FF2B5EF4-FFF2-40B4-BE49-F238E27FC236}">
                <a16:creationId xmlns:a16="http://schemas.microsoft.com/office/drawing/2014/main" id="{42EA8043-85A0-4D8F-8348-BA355A7B5FF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3" name="addin_grouplist" hidden="1">
            <a:extLst>
              <a:ext uri="{FF2B5EF4-FFF2-40B4-BE49-F238E27FC236}">
                <a16:creationId xmlns:a16="http://schemas.microsoft.com/office/drawing/2014/main" id="{E563CD6A-A576-44D3-8CC3-9114D591672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4" name="addin_logo" hidden="1">
            <a:extLst>
              <a:ext uri="{FF2B5EF4-FFF2-40B4-BE49-F238E27FC236}">
                <a16:creationId xmlns:a16="http://schemas.microsoft.com/office/drawing/2014/main" id="{9CF18725-D8DB-4F08-9D16-41237AACFD4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6" name="addin_fillplaceholders" hidden="1">
            <a:extLst>
              <a:ext uri="{FF2B5EF4-FFF2-40B4-BE49-F238E27FC236}">
                <a16:creationId xmlns:a16="http://schemas.microsoft.com/office/drawing/2014/main" id="{991EC08D-EFD8-4694-9D89-D08AFA1A309F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17" name="addin_colorlist" hidden="1">
            <a:extLst>
              <a:ext uri="{FF2B5EF4-FFF2-40B4-BE49-F238E27FC236}">
                <a16:creationId xmlns:a16="http://schemas.microsoft.com/office/drawing/2014/main" id="{FD0BFB97-1416-4EB5-9378-C644C455BF7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1EE69F7B-96E4-4D08-8544-715743B31CD2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A672648-934A-4F12-93E6-1D228EB528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44269EB-52A0-4947-98BF-6FDC43498788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60044" y="1082726"/>
            <a:ext cx="11471910" cy="4817312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Tx/>
              <a:buNone/>
              <a:defRPr sz="2400" b="0" i="0" u="none" cap="none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867015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halv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80CF6147-1B60-436B-ABD0-E426D3DDF3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0" name="Text Placeholder 6" descr="Logo Universitetet i oslo">
            <a:extLst>
              <a:ext uri="{FF2B5EF4-FFF2-40B4-BE49-F238E27FC236}">
                <a16:creationId xmlns:a16="http://schemas.microsoft.com/office/drawing/2014/main" id="{36E824D8-5207-4DF5-BD9E-C1307AD980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35" name="Text Placeholder 4" descr="UiO segl">
            <a:extLst>
              <a:ext uri="{FF2B5EF4-FFF2-40B4-BE49-F238E27FC236}">
                <a16:creationId xmlns:a16="http://schemas.microsoft.com/office/drawing/2014/main" id="{F9A19FD8-51AB-4838-9B3F-0C4ED0CDF7B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xmlns="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addin_colorlist" hidden="1">
            <a:extLst>
              <a:ext uri="{FF2B5EF4-FFF2-40B4-BE49-F238E27FC236}">
                <a16:creationId xmlns:a16="http://schemas.microsoft.com/office/drawing/2014/main" id="{9C89DC5C-C295-4993-8094-F0B8D6618A6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27" name="addin_colorbox" hidden="1">
            <a:extLst>
              <a:ext uri="{FF2B5EF4-FFF2-40B4-BE49-F238E27FC236}">
                <a16:creationId xmlns:a16="http://schemas.microsoft.com/office/drawing/2014/main" id="{2CC73354-08EE-44A2-AB48-A462E1508E46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8" name="addin_title" hidden="1">
            <a:extLst>
              <a:ext uri="{FF2B5EF4-FFF2-40B4-BE49-F238E27FC236}">
                <a16:creationId xmlns:a16="http://schemas.microsoft.com/office/drawing/2014/main" id="{26C6DF9C-269B-4A64-898A-65E2DB4E195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9" name="addin_text" hidden="1">
            <a:extLst>
              <a:ext uri="{FF2B5EF4-FFF2-40B4-BE49-F238E27FC236}">
                <a16:creationId xmlns:a16="http://schemas.microsoft.com/office/drawing/2014/main" id="{DEF32610-8099-45EC-A831-EA132BB98DEB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30" name="addin_image" hidden="1">
            <a:extLst>
              <a:ext uri="{FF2B5EF4-FFF2-40B4-BE49-F238E27FC236}">
                <a16:creationId xmlns:a16="http://schemas.microsoft.com/office/drawing/2014/main" id="{FCBF301A-51A4-47F6-A13E-EA0C05B5707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1" name="addin_grouplist" hidden="1">
            <a:extLst>
              <a:ext uri="{FF2B5EF4-FFF2-40B4-BE49-F238E27FC236}">
                <a16:creationId xmlns:a16="http://schemas.microsoft.com/office/drawing/2014/main" id="{31339D77-A008-41C5-8746-5E52634CF5F3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32" name="addin_logo" hidden="1">
            <a:extLst>
              <a:ext uri="{FF2B5EF4-FFF2-40B4-BE49-F238E27FC236}">
                <a16:creationId xmlns:a16="http://schemas.microsoft.com/office/drawing/2014/main" id="{826D203C-01F5-46E6-8CA5-6E8C2BD4380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33" name="logo_hvit" descr="UiO Segl" hidden="1">
            <a:extLst>
              <a:ext uri="{FF2B5EF4-FFF2-40B4-BE49-F238E27FC236}">
                <a16:creationId xmlns:a16="http://schemas.microsoft.com/office/drawing/2014/main" id="{D427F631-71AD-40A0-9DBF-5B89C6D6AF8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34" name="logo_sort" descr="UiO Segl" hidden="1">
            <a:extLst>
              <a:ext uri="{FF2B5EF4-FFF2-40B4-BE49-F238E27FC236}">
                <a16:creationId xmlns:a16="http://schemas.microsoft.com/office/drawing/2014/main" id="{79A0A5BE-15A5-45D3-AAD4-DA46706180E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id="{EFBE860A-1A40-435A-88FE-0EADB0DB8F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05F523C6-A45B-4665-9FA1-E4FAB65FE5E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4237730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502EFC6A-E5AE-4CDD-893A-8151185CCF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38E5FEA3-8D79-4D56-9664-2703F65E1EC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74BFEE26-19F8-420D-B230-46123EBE4C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1" name="Date Placeholder 3">
            <a:extLst>
              <a:ext uri="{FF2B5EF4-FFF2-40B4-BE49-F238E27FC236}">
                <a16:creationId xmlns:a16="http://schemas.microsoft.com/office/drawing/2014/main" id="{F7CD78E4-773D-43A0-AF45-F06FF64BD1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000989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tekstbokser med ingr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3EB74F5A-3F59-4167-9DC8-330443F355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addin_colorbox" hidden="1">
            <a:extLst>
              <a:ext uri="{FF2B5EF4-FFF2-40B4-BE49-F238E27FC236}">
                <a16:creationId xmlns:a16="http://schemas.microsoft.com/office/drawing/2014/main" id="{85B29458-A561-422C-8B22-C9C8019F05A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2" name="addin_title" hidden="1">
            <a:extLst>
              <a:ext uri="{FF2B5EF4-FFF2-40B4-BE49-F238E27FC236}">
                <a16:creationId xmlns:a16="http://schemas.microsoft.com/office/drawing/2014/main" id="{6DA48910-8F44-454E-B43A-1B5C4C20B2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3" name="addin_text" hidden="1">
            <a:extLst>
              <a:ext uri="{FF2B5EF4-FFF2-40B4-BE49-F238E27FC236}">
                <a16:creationId xmlns:a16="http://schemas.microsoft.com/office/drawing/2014/main" id="{36112E3C-28E7-406C-A89C-679F16136B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4" name="addin_image" hidden="1">
            <a:extLst>
              <a:ext uri="{FF2B5EF4-FFF2-40B4-BE49-F238E27FC236}">
                <a16:creationId xmlns:a16="http://schemas.microsoft.com/office/drawing/2014/main" id="{6A60E72D-08B9-476D-AFC3-4789C7CAB3E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21C3A9AD-504F-4B89-8A17-FC25321E037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E4836D3F-D357-451D-AE6E-7EB69FA7FED5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0F33A6D9-8DA0-41B8-8049-5CD7B9C6A30E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539226-B5F3-4B78-ACC7-33FC0BA3232C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733187ED-462E-47AF-B84E-AD47047EA58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69DB1BE3-558A-48DC-BDC0-99721DB83C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A53454CC-87E9-4EB8-A148-E8917C513AF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9B68EB7-26DD-44B0-B503-B133010AD6D9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7060C8D-FB51-4745-B5BA-28C1605AFCAA}"/>
              </a:ext>
            </a:extLst>
          </p:cNvPr>
          <p:cNvSpPr>
            <a:spLocks noGrp="1"/>
          </p:cNvSpPr>
          <p:nvPr>
            <p:ph sz="quarter" idx="38"/>
          </p:nvPr>
        </p:nvSpPr>
        <p:spPr>
          <a:xfrm>
            <a:off x="360043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04FE8AE5-898D-4838-B222-D9178BD5489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3871769-9C00-4F59-9847-667CD9B433BA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333840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CBB1FA-9857-4CD5-A348-3131F0AEB2D9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4333839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Text Placeholder 21">
            <a:extLst>
              <a:ext uri="{FF2B5EF4-FFF2-40B4-BE49-F238E27FC236}">
                <a16:creationId xmlns:a16="http://schemas.microsoft.com/office/drawing/2014/main" id="{734C1ED4-971E-4006-9901-E3C5A2D1ADF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7F28ED8-40A8-43F5-9C35-FA0A7A4B7B0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287512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F835DB0-47DB-4C8D-91B7-06E75EAC9A45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8284384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7071523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9" name="addin_colorbox" hidden="1">
            <a:extLst>
              <a:ext uri="{FF2B5EF4-FFF2-40B4-BE49-F238E27FC236}">
                <a16:creationId xmlns:a16="http://schemas.microsoft.com/office/drawing/2014/main" id="{8CF651E2-DD60-4E17-88DC-C480178AFF5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011245F7-98B6-4B20-8174-39F84E37606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EF2396E3-07AF-47C0-BEC4-D981BDC140A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addin_image" hidden="1">
            <a:extLst>
              <a:ext uri="{FF2B5EF4-FFF2-40B4-BE49-F238E27FC236}">
                <a16:creationId xmlns:a16="http://schemas.microsoft.com/office/drawing/2014/main" id="{70F848C3-1BE5-4A26-AC5E-2192AC85CDF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CCBBBF12-7B28-49C5-B8F6-E0FB7DE6EC0C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353CF5D9-1BFC-418E-90A2-3300A6EAE3EE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30BAAD75-8F68-4A50-98F1-FAB2F09878E0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18083F-C741-41DF-96D3-CC32C9FA32A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55AE3439-8B84-48C9-BD26-13BD97C0EA2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15333E61-2FC3-40D9-82CA-9B321075AF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37" name="Picture Placeholder 4">
            <a:extLst>
              <a:ext uri="{FF2B5EF4-FFF2-40B4-BE49-F238E27FC236}">
                <a16:creationId xmlns:a16="http://schemas.microsoft.com/office/drawing/2014/main" id="{8DB62B9B-DA6F-4B28-8109-CB17B37FC575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360044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D77A5E11-842C-4FB6-815C-DFB3ABB6270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4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6" name="Content Placeholder 3">
            <a:extLst>
              <a:ext uri="{FF2B5EF4-FFF2-40B4-BE49-F238E27FC236}">
                <a16:creationId xmlns:a16="http://schemas.microsoft.com/office/drawing/2014/main" id="{608D3BA1-A495-4A81-AEDF-108083B425F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4" y="3466045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34" name="Picture Placeholder 4">
            <a:extLst>
              <a:ext uri="{FF2B5EF4-FFF2-40B4-BE49-F238E27FC236}">
                <a16:creationId xmlns:a16="http://schemas.microsoft.com/office/drawing/2014/main" id="{8DBA5C73-7C13-4B90-AB3C-33800055D04C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19317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A5F10688-3BD3-4100-93E4-DF84C9CFDBE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19317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3F640CBC-9652-48BE-BF08-FD238D950C8A}"/>
              </a:ext>
            </a:extLst>
          </p:cNvPr>
          <p:cNvSpPr>
            <a:spLocks noGrp="1"/>
          </p:cNvSpPr>
          <p:nvPr>
            <p:ph sz="half" idx="26"/>
          </p:nvPr>
        </p:nvSpPr>
        <p:spPr>
          <a:xfrm>
            <a:off x="4319318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24" name="Picture Placeholder 4">
            <a:extLst>
              <a:ext uri="{FF2B5EF4-FFF2-40B4-BE49-F238E27FC236}">
                <a16:creationId xmlns:a16="http://schemas.microsoft.com/office/drawing/2014/main" id="{A93925D5-5699-4BE0-AEE8-00634046ACBA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255658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7F0F2B16-0190-4211-A226-C7673C0595F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55658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8255659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536D8A58-B677-4BBF-8564-3532CB713F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81845996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tekst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AE5EE307-16A7-4BB4-826C-FE03F2BC5A6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addin_colorbox" hidden="1">
            <a:extLst>
              <a:ext uri="{FF2B5EF4-FFF2-40B4-BE49-F238E27FC236}">
                <a16:creationId xmlns:a16="http://schemas.microsoft.com/office/drawing/2014/main" id="{68D8861A-56FC-49BC-BC70-59F04372E49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9" name="addin_title" hidden="1">
            <a:extLst>
              <a:ext uri="{FF2B5EF4-FFF2-40B4-BE49-F238E27FC236}">
                <a16:creationId xmlns:a16="http://schemas.microsoft.com/office/drawing/2014/main" id="{3435CB16-27EC-4FA8-AFCE-C153EAACC1A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0" name="addin_text" hidden="1">
            <a:extLst>
              <a:ext uri="{FF2B5EF4-FFF2-40B4-BE49-F238E27FC236}">
                <a16:creationId xmlns:a16="http://schemas.microsoft.com/office/drawing/2014/main" id="{EAA5BB91-F0F7-40F1-B570-8C015BFB6B1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1" name="addin_image" hidden="1">
            <a:extLst>
              <a:ext uri="{FF2B5EF4-FFF2-40B4-BE49-F238E27FC236}">
                <a16:creationId xmlns:a16="http://schemas.microsoft.com/office/drawing/2014/main" id="{314857CC-CD3A-4093-9A62-A81D04F2173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2" name="addin_grouplist" hidden="1">
            <a:extLst>
              <a:ext uri="{FF2B5EF4-FFF2-40B4-BE49-F238E27FC236}">
                <a16:creationId xmlns:a16="http://schemas.microsoft.com/office/drawing/2014/main" id="{CD991C7D-082B-4C2A-9D04-5C93FD4BFAF9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CDE1D328-C358-480F-B3D9-0D7F90E1FCD9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F6A83423-DC11-43BA-B76B-FDF05773D562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6A73BA5A-B3F5-4DE9-BB13-AF73702D706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9FE72A3E-01F8-412E-8E98-2BDAA4A674B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58AF55B9-1670-44D0-B63B-7F29554D4D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91211FBE-673D-4273-A607-B348AAB51CAD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6" name="Text Placeholder 21">
            <a:extLst>
              <a:ext uri="{FF2B5EF4-FFF2-40B4-BE49-F238E27FC236}">
                <a16:creationId xmlns:a16="http://schemas.microsoft.com/office/drawing/2014/main" id="{B72D2E40-18A8-4D11-A79B-F130A143E05C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60043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5" name="Content Placeholder 3">
            <a:extLst>
              <a:ext uri="{FF2B5EF4-FFF2-40B4-BE49-F238E27FC236}">
                <a16:creationId xmlns:a16="http://schemas.microsoft.com/office/drawing/2014/main" id="{FBF46E5C-C7CD-4024-B778-D17BB07C10CB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3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44" name="Text Placeholder 21">
            <a:extLst>
              <a:ext uri="{FF2B5EF4-FFF2-40B4-BE49-F238E27FC236}">
                <a16:creationId xmlns:a16="http://schemas.microsoft.com/office/drawing/2014/main" id="{3E2AF5D0-334B-4117-BADC-AC9D08C21C5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303805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3" name="Content Placeholder 3">
            <a:extLst>
              <a:ext uri="{FF2B5EF4-FFF2-40B4-BE49-F238E27FC236}">
                <a16:creationId xmlns:a16="http://schemas.microsoft.com/office/drawing/2014/main" id="{542EDCC5-87FC-4341-AA76-9AE955848C54}"/>
              </a:ext>
            </a:extLst>
          </p:cNvPr>
          <p:cNvSpPr>
            <a:spLocks noGrp="1"/>
          </p:cNvSpPr>
          <p:nvPr>
            <p:ph sz="half" idx="27"/>
          </p:nvPr>
        </p:nvSpPr>
        <p:spPr>
          <a:xfrm>
            <a:off x="3303805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B6D298D6-0193-4F36-B987-5B03BFD64A7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05961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1" name="Content Placeholder 3">
            <a:extLst>
              <a:ext uri="{FF2B5EF4-FFF2-40B4-BE49-F238E27FC236}">
                <a16:creationId xmlns:a16="http://schemas.microsoft.com/office/drawing/2014/main" id="{E25FBBCD-FAB3-496C-9023-BEA9649A7EA4}"/>
              </a:ext>
            </a:extLst>
          </p:cNvPr>
          <p:cNvSpPr>
            <a:spLocks noGrp="1"/>
          </p:cNvSpPr>
          <p:nvPr>
            <p:ph sz="half" idx="25"/>
          </p:nvPr>
        </p:nvSpPr>
        <p:spPr>
          <a:xfrm>
            <a:off x="6205961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84EBD52D-9372-4482-9683-865699B9658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108118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108117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58911089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9C3F215E-98D7-4E75-AF2C-6DC421F9F5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4" name="addin_colorbox" hidden="1">
            <a:extLst>
              <a:ext uri="{FF2B5EF4-FFF2-40B4-BE49-F238E27FC236}">
                <a16:creationId xmlns:a16="http://schemas.microsoft.com/office/drawing/2014/main" id="{CCB23F58-B073-414A-9542-826ED845D63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31" name="addin_title" hidden="1">
            <a:extLst>
              <a:ext uri="{FF2B5EF4-FFF2-40B4-BE49-F238E27FC236}">
                <a16:creationId xmlns:a16="http://schemas.microsoft.com/office/drawing/2014/main" id="{E0B8CF1B-2796-41B4-98A5-9AA3E93611FE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32" name="addin_text" hidden="1">
            <a:extLst>
              <a:ext uri="{FF2B5EF4-FFF2-40B4-BE49-F238E27FC236}">
                <a16:creationId xmlns:a16="http://schemas.microsoft.com/office/drawing/2014/main" id="{F306296F-A7F1-41BF-B943-C7D7FA14781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33" name="addin_image" hidden="1">
            <a:extLst>
              <a:ext uri="{FF2B5EF4-FFF2-40B4-BE49-F238E27FC236}">
                <a16:creationId xmlns:a16="http://schemas.microsoft.com/office/drawing/2014/main" id="{C5CBAE70-7714-47C3-82CB-B11634DACAEB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4" name="addin_grouplist" hidden="1">
            <a:extLst>
              <a:ext uri="{FF2B5EF4-FFF2-40B4-BE49-F238E27FC236}">
                <a16:creationId xmlns:a16="http://schemas.microsoft.com/office/drawing/2014/main" id="{99881E91-E858-4E37-8704-3C1818D3175A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35" name="addin_logo" hidden="1">
            <a:extLst>
              <a:ext uri="{FF2B5EF4-FFF2-40B4-BE49-F238E27FC236}">
                <a16:creationId xmlns:a16="http://schemas.microsoft.com/office/drawing/2014/main" id="{D574164F-9CA4-4A10-8C31-D4E2B17D20C6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6" name="addin_fillplaceholders" hidden="1">
            <a:extLst>
              <a:ext uri="{FF2B5EF4-FFF2-40B4-BE49-F238E27FC236}">
                <a16:creationId xmlns:a16="http://schemas.microsoft.com/office/drawing/2014/main" id="{36B7DCBD-44E1-493E-85B0-E828E93D937C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37" name="addin_colorlist" hidden="1">
            <a:extLst>
              <a:ext uri="{FF2B5EF4-FFF2-40B4-BE49-F238E27FC236}">
                <a16:creationId xmlns:a16="http://schemas.microsoft.com/office/drawing/2014/main" id="{E563F0D4-11F4-42DD-9931-F4F51432C39A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38" name="addin_background" hidden="1">
            <a:extLst>
              <a:ext uri="{FF2B5EF4-FFF2-40B4-BE49-F238E27FC236}">
                <a16:creationId xmlns:a16="http://schemas.microsoft.com/office/drawing/2014/main" id="{6A47E99E-21A0-4BFE-92CC-423622BC33AB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EF847B60-F309-4884-9832-357BAAD658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DC80BDF2-BFAE-4432-9B71-EC93BBDB264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60043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11FE7522-682F-43A2-922B-D0B51A4624B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3" y="2790811"/>
            <a:ext cx="2736980" cy="318644"/>
          </a:xfrm>
        </p:spPr>
        <p:txBody>
          <a:bodyPr anchor="t"/>
          <a:lstStyle>
            <a:lvl1pPr marL="0" indent="0" algn="l">
              <a:buNone/>
              <a:defRPr sz="15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id="{480D74DD-4A50-49DD-9306-A23A22079643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3" y="3292760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388075E-3AFC-4298-92EB-455858EE4D0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286576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C5EE1A38-0897-4573-99F1-2AAFFB9267F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286576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71E44F0B-F496-4E85-AC77-361685F3DAE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286576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25" name="Picture Placeholder 4">
            <a:extLst>
              <a:ext uri="{FF2B5EF4-FFF2-40B4-BE49-F238E27FC236}">
                <a16:creationId xmlns:a16="http://schemas.microsoft.com/office/drawing/2014/main" id="{3D1BDEE6-8393-45A2-903D-6459074B303C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192987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0" name="Text Placeholder 21">
            <a:extLst>
              <a:ext uri="{FF2B5EF4-FFF2-40B4-BE49-F238E27FC236}">
                <a16:creationId xmlns:a16="http://schemas.microsoft.com/office/drawing/2014/main" id="{2D7B525A-A39D-4409-889F-3E50319F94F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192987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A3C6FFF7-1BD6-4C2E-949A-7AEAD2340CC4}"/>
              </a:ext>
            </a:extLst>
          </p:cNvPr>
          <p:cNvSpPr>
            <a:spLocks noGrp="1"/>
          </p:cNvSpPr>
          <p:nvPr>
            <p:ph sz="half" idx="28"/>
          </p:nvPr>
        </p:nvSpPr>
        <p:spPr>
          <a:xfrm>
            <a:off x="6192987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9094974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22AA6F0B-4FE7-4E1E-A833-9372AA44889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094974" y="2790811"/>
            <a:ext cx="2716858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094974" y="3292761"/>
            <a:ext cx="2736980" cy="2376197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02899497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bil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E78C22F4-77A5-4B84-BD5E-2A59A32FB5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FAE41322-259C-45E1-8EBA-CD9AEBC31A7F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4C2A117-22FA-459F-976D-25DB69F158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547B788B-9E9A-45A9-B357-364F5972A24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D0001077-9CBF-4E3B-BC21-E948C160E96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60044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41D3FFA-A749-48E7-93B6-E3608A598D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0045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B89F89F-F92D-4257-8097-9A576478EB5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220199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BD368394-9DFE-49F7-8B3A-C5D11ABAF3C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20199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15" name="addin_colorlist" hidden="1">
            <a:extLst>
              <a:ext uri="{FF2B5EF4-FFF2-40B4-BE49-F238E27FC236}">
                <a16:creationId xmlns:a16="http://schemas.microsoft.com/office/drawing/2014/main" id="{12E1D021-9BB6-483B-B0CA-ABB02941583E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AE6A6AFF-72F2-4BDB-94A3-D92B38AC6AE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1390369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BBD9063C-F778-46E7-8697-C72B9C1AA8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addin_colorlist" hidden="1">
            <a:extLst>
              <a:ext uri="{FF2B5EF4-FFF2-40B4-BE49-F238E27FC236}">
                <a16:creationId xmlns:a16="http://schemas.microsoft.com/office/drawing/2014/main" id="{192BE3FC-33A9-40BC-A479-57A961956F2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19" name="addin_background" hidden="1">
            <a:extLst>
              <a:ext uri="{FF2B5EF4-FFF2-40B4-BE49-F238E27FC236}">
                <a16:creationId xmlns:a16="http://schemas.microsoft.com/office/drawing/2014/main" id="{0622262C-05D6-4FA9-AC81-A220F534330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1457E567-3EF4-4752-87D8-A632A0518A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2" name="Text Placeholder 21">
            <a:extLst>
              <a:ext uri="{FF2B5EF4-FFF2-40B4-BE49-F238E27FC236}">
                <a16:creationId xmlns:a16="http://schemas.microsoft.com/office/drawing/2014/main" id="{BCBAFB08-AF77-436F-9BD6-4080968E01E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37AE244-E30D-4FB2-98A6-B9EC37B05A95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60043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Text Placeholder 21">
            <a:extLst>
              <a:ext uri="{FF2B5EF4-FFF2-40B4-BE49-F238E27FC236}">
                <a16:creationId xmlns:a16="http://schemas.microsoft.com/office/drawing/2014/main" id="{C92CEF28-9974-4654-BC4B-16683224EB2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CA0C917-5130-4608-85A6-627EB2AFD5D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33839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74EB04B7-23CB-400A-AA85-FD8B359FC6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0C61C4C-3830-4483-B223-21FD6F02122E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8287512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921212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ort bilde utfyll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0" y="1262748"/>
            <a:ext cx="12192000" cy="5595252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Text Placeholder 4" descr="Logo Universitetet i oslo">
            <a:extLst>
              <a:ext uri="{FF2B5EF4-FFF2-40B4-BE49-F238E27FC236}">
                <a16:creationId xmlns:a16="http://schemas.microsoft.com/office/drawing/2014/main" id="{47006D2C-998F-4DB7-B481-B9B3DCDC0DA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6" name="addin_colorlist" hidden="1">
            <a:extLst>
              <a:ext uri="{FF2B5EF4-FFF2-40B4-BE49-F238E27FC236}">
                <a16:creationId xmlns:a16="http://schemas.microsoft.com/office/drawing/2014/main" id="{9A57ABF8-B03C-45E1-8D60-C254AB41F39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8" name="addin_background" hidden="1">
            <a:extLst>
              <a:ext uri="{FF2B5EF4-FFF2-40B4-BE49-F238E27FC236}">
                <a16:creationId xmlns:a16="http://schemas.microsoft.com/office/drawing/2014/main" id="{055166DC-2EAE-49E7-B441-171CC1D8ADC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61FD05B-C54B-4336-9FA5-A6AE69EA83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37055543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8BD289F-AA6B-4FB2-A81B-530238144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AD1492D-B242-4BDE-940A-6ED6C625F8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D3E5644C-DB70-4CBC-AC2B-038E4820ABB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5" name="addin_background" hidden="1">
            <a:extLst>
              <a:ext uri="{FF2B5EF4-FFF2-40B4-BE49-F238E27FC236}">
                <a16:creationId xmlns:a16="http://schemas.microsoft.com/office/drawing/2014/main" id="{3749FA81-9AD1-411B-9F14-0795464A48C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749894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fullbredde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659A8DBD-BD7A-4EDC-B67F-D66D4E02E6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12355"/>
            <a:ext cx="10343114" cy="6833287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184891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44" name="Picture Placeholder 2">
            <a:extLst>
              <a:ext uri="{FF2B5EF4-FFF2-40B4-BE49-F238E27FC236}">
                <a16:creationId xmlns:a16="http://schemas.microsoft.com/office/drawing/2014/main" id="{3C950E19-2396-52AE-F5D7-281EEFFE2034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846263" y="12356"/>
            <a:ext cx="10345737" cy="6832943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7" name="Text Placeholder 6" descr="Logo Universitetet i oslo">
            <a:extLst>
              <a:ext uri="{FF2B5EF4-FFF2-40B4-BE49-F238E27FC236}">
                <a16:creationId xmlns:a16="http://schemas.microsoft.com/office/drawing/2014/main" id="{F29784C4-AE21-4452-BCC9-BC75C914498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86112" y="381854"/>
            <a:ext cx="5619582" cy="1116919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17DA3A3C-41C9-4BB1-8AF6-64A31B42E6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49401EE1-2446-4FF1-9952-199B1AD33AA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7838A1EF-4F8F-4E02-84A8-CBDE742A016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1520438F-077B-4383-9B2E-BA087AF71C6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AA4849A-5DB1-449C-B5F9-8D23CAAC0678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6FF82BAB-E28F-4E02-86D8-FEDC0BED1A1D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EA3D402A-5E41-4E74-BCFE-6ECD172AE4E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6" name="addin_colorbox" hidden="1">
            <a:extLst>
              <a:ext uri="{FF2B5EF4-FFF2-40B4-BE49-F238E27FC236}">
                <a16:creationId xmlns:a16="http://schemas.microsoft.com/office/drawing/2014/main" id="{B21C5878-1C16-4124-B18E-3FD702004B13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7" name="addin_title" hidden="1">
            <a:extLst>
              <a:ext uri="{FF2B5EF4-FFF2-40B4-BE49-F238E27FC236}">
                <a16:creationId xmlns:a16="http://schemas.microsoft.com/office/drawing/2014/main" id="{25090456-9625-456B-9BF8-33469B9C80F5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8" name="addin_text" hidden="1">
            <a:extLst>
              <a:ext uri="{FF2B5EF4-FFF2-40B4-BE49-F238E27FC236}">
                <a16:creationId xmlns:a16="http://schemas.microsoft.com/office/drawing/2014/main" id="{335F99C5-F1AA-4F79-BB95-80F64E93637D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9" name="addin_image" hidden="1">
            <a:extLst>
              <a:ext uri="{FF2B5EF4-FFF2-40B4-BE49-F238E27FC236}">
                <a16:creationId xmlns:a16="http://schemas.microsoft.com/office/drawing/2014/main" id="{8F68B54B-8B5A-4C05-93DB-7F2DC877EF5E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0" name="addin_grouplist" hidden="1">
            <a:extLst>
              <a:ext uri="{FF2B5EF4-FFF2-40B4-BE49-F238E27FC236}">
                <a16:creationId xmlns:a16="http://schemas.microsoft.com/office/drawing/2014/main" id="{F2089761-1A50-4072-9872-C62B5CA9E1F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pic>
        <p:nvPicPr>
          <p:cNvPr id="31" name="logo_hvit" descr="UiO Segl" hidden="1">
            <a:extLst>
              <a:ext uri="{FF2B5EF4-FFF2-40B4-BE49-F238E27FC236}">
                <a16:creationId xmlns:a16="http://schemas.microsoft.com/office/drawing/2014/main" id="{27B17C39-2B30-4789-8BEA-4AE4B2320B7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10785613" y="5458074"/>
            <a:ext cx="1025436" cy="1025436"/>
          </a:xfrm>
          <a:prstGeom prst="rect">
            <a:avLst/>
          </a:prstGeom>
        </p:spPr>
      </p:pic>
      <p:pic>
        <p:nvPicPr>
          <p:cNvPr id="32" name="logo_sort" descr="UiO segl" hidden="1">
            <a:extLst>
              <a:ext uri="{FF2B5EF4-FFF2-40B4-BE49-F238E27FC236}">
                <a16:creationId xmlns:a16="http://schemas.microsoft.com/office/drawing/2014/main" id="{46600C4D-987E-4F2B-917A-380F2324CB51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xmlns="" r:embed="rId10"/>
              </a:ext>
            </a:extLst>
          </a:blip>
          <a:stretch>
            <a:fillRect/>
          </a:stretch>
        </p:blipFill>
        <p:spPr>
          <a:xfrm>
            <a:off x="10785613" y="5456640"/>
            <a:ext cx="1025421" cy="1025421"/>
          </a:xfrm>
          <a:prstGeom prst="rect">
            <a:avLst/>
          </a:prstGeom>
        </p:spPr>
      </p:pic>
      <p:sp>
        <p:nvSpPr>
          <p:cNvPr id="34" name="addin_logo" hidden="1">
            <a:extLst>
              <a:ext uri="{FF2B5EF4-FFF2-40B4-BE49-F238E27FC236}">
                <a16:creationId xmlns:a16="http://schemas.microsoft.com/office/drawing/2014/main" id="{E5963F14-DFC9-40C0-BCD0-4A837E431DF5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5" name="addin_colorlist" hidden="1">
            <a:extLst>
              <a:ext uri="{FF2B5EF4-FFF2-40B4-BE49-F238E27FC236}">
                <a16:creationId xmlns:a16="http://schemas.microsoft.com/office/drawing/2014/main" id="{B73620FB-5D82-4728-A1F9-C75D53925FBA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39" name="Title 6">
            <a:extLst>
              <a:ext uri="{FF2B5EF4-FFF2-40B4-BE49-F238E27FC236}">
                <a16:creationId xmlns:a16="http://schemas.microsoft.com/office/drawing/2014/main" id="{5D15D34C-2B62-4A4C-AEE9-82137A8B1D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09EEDD50-63E6-41B4-83C0-DB199267B4E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40" name="Subtitle 2">
            <a:extLst>
              <a:ext uri="{FF2B5EF4-FFF2-40B4-BE49-F238E27FC236}">
                <a16:creationId xmlns:a16="http://schemas.microsoft.com/office/drawing/2014/main" id="{291ADE13-A8F2-46E2-995A-5B5A00B970C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42" name="Text Placeholder 8">
            <a:extLst>
              <a:ext uri="{FF2B5EF4-FFF2-40B4-BE49-F238E27FC236}">
                <a16:creationId xmlns:a16="http://schemas.microsoft.com/office/drawing/2014/main" id="{7E6BC4FE-C55B-40DF-BE2C-B4A366CA9E9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43" name="Text Placeholder 8">
            <a:extLst>
              <a:ext uri="{FF2B5EF4-FFF2-40B4-BE49-F238E27FC236}">
                <a16:creationId xmlns:a16="http://schemas.microsoft.com/office/drawing/2014/main" id="{2A5C5038-A44D-4A5A-B6E6-4A3A6640788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41" name="Date Placeholder 3">
            <a:extLst>
              <a:ext uri="{FF2B5EF4-FFF2-40B4-BE49-F238E27FC236}">
                <a16:creationId xmlns:a16="http://schemas.microsoft.com/office/drawing/2014/main" id="{6D771372-9AD5-430D-A81A-2E8203086FD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2612476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ullbredde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0"/>
            <a:ext cx="10343114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848885" y="0"/>
            <a:ext cx="10343115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8">
              <a:extLst>
                <a:ext uri="{96DAC541-7B7A-43D3-8B79-37D633B846F1}">
                  <asvg:svgBlip xmlns:asvg="http://schemas.microsoft.com/office/drawing/2016/SVG/main" xmlns="" r:embed="rId9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6350289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ullbredde UiO Innhold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0" y="0"/>
            <a:ext cx="12188597" cy="69469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0" y="0"/>
            <a:ext cx="12192000" cy="69469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xmlns="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30249302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fakultet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1">
            <a:extLst>
              <a:ext uri="{FF2B5EF4-FFF2-40B4-BE49-F238E27FC236}">
                <a16:creationId xmlns:a16="http://schemas.microsoft.com/office/drawing/2014/main" id="{8F36C119-AFC3-655F-C788-84AAE9762870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21892" r="-49642"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FDE277A-D1D4-46F7-9ED8-7C20DEB74C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06249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5" imgW="339" imgH="343" progId="TCLayout.ActiveDocument.1">
                  <p:embed/>
                </p:oleObj>
              </mc:Choice>
              <mc:Fallback>
                <p:oleObj name="think-cell Slide" r:id="rId5" imgW="339" imgH="34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FDE277A-D1D4-46F7-9ED8-7C20DEB74C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pic>
        <p:nvPicPr>
          <p:cNvPr id="24" name="Graphic 23" descr="UiO segl">
            <a:extLst>
              <a:ext uri="{FF2B5EF4-FFF2-40B4-BE49-F238E27FC236}">
                <a16:creationId xmlns:a16="http://schemas.microsoft.com/office/drawing/2014/main" id="{EC3480BC-2C3D-4A7E-9C52-40E1CC216EEE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9C5D506-67A5-4F89-8560-22F43BCF74A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6" name="addin_colorbox" hidden="1">
            <a:extLst>
              <a:ext uri="{FF2B5EF4-FFF2-40B4-BE49-F238E27FC236}">
                <a16:creationId xmlns:a16="http://schemas.microsoft.com/office/drawing/2014/main" id="{FCA3E1BC-B669-4110-87EA-FAF1FA6121DD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7" name="addin_title" hidden="1">
            <a:extLst>
              <a:ext uri="{FF2B5EF4-FFF2-40B4-BE49-F238E27FC236}">
                <a16:creationId xmlns:a16="http://schemas.microsoft.com/office/drawing/2014/main" id="{3ED724C7-6D8D-4B02-A942-476103665D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8" name="addin_text" hidden="1">
            <a:extLst>
              <a:ext uri="{FF2B5EF4-FFF2-40B4-BE49-F238E27FC236}">
                <a16:creationId xmlns:a16="http://schemas.microsoft.com/office/drawing/2014/main" id="{3875A1F9-BE97-453C-A6D3-C2B80FB26DA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9" name="addin_image" hidden="1">
            <a:extLst>
              <a:ext uri="{FF2B5EF4-FFF2-40B4-BE49-F238E27FC236}">
                <a16:creationId xmlns:a16="http://schemas.microsoft.com/office/drawing/2014/main" id="{B74C45E3-A0CF-4E11-99D4-B0A97B5ECA6D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0" name="addin_grouplist" hidden="1">
            <a:extLst>
              <a:ext uri="{FF2B5EF4-FFF2-40B4-BE49-F238E27FC236}">
                <a16:creationId xmlns:a16="http://schemas.microsoft.com/office/drawing/2014/main" id="{E863661C-B13F-46BB-BA71-469E9D5AB327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6B15E5D0-41F1-4B95-AEBC-8FEF29F24DE4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 dirty="0"/>
              <a:t>Velg fakultet fra </a:t>
            </a:r>
            <a:r>
              <a:rPr lang="nb-NO" noProof="0" dirty="0" err="1"/>
              <a:t>nedtrekksmenyen</a:t>
            </a:r>
            <a:endParaRPr lang="en-US" noProof="0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E17BAB58-FE9E-48CD-90C1-5A92CD4AF34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D1011A16-94DD-4043-A614-BEC724B6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BC09F072-DFF2-42B8-9221-578EE194D0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3BBDCC2B-F1B3-4493-BC07-8FE83C70C0E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182013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akulte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 dirty="0"/>
              <a:t>Velg fakultet fra </a:t>
            </a:r>
            <a:r>
              <a:rPr lang="nb-NO" noProof="0" dirty="0" err="1"/>
              <a:t>nedtrekksmenyen</a:t>
            </a:r>
            <a:endParaRPr lang="en-US" noProof="0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0FDCF8F-A008-4CFD-BFC2-4B8B6F9B51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2127E9DC-8728-47D2-950F-5610AB44AE5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12AB716-EA8C-40F3-9E5E-FADFDE5B68A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4" name="Date Placeholder 3">
            <a:extLst>
              <a:ext uri="{FF2B5EF4-FFF2-40B4-BE49-F238E27FC236}">
                <a16:creationId xmlns:a16="http://schemas.microsoft.com/office/drawing/2014/main" id="{C0D51CD3-9F1B-45C4-9816-FCEC12A47AF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C57EEA8-87A3-4F4A-8A88-C8CF94340B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995528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4" imgW="339" imgH="343" progId="TCLayout.ActiveDocument.1">
                  <p:embed/>
                </p:oleObj>
              </mc:Choice>
              <mc:Fallback>
                <p:oleObj name="think-cell Slide" r:id="rId4" imgW="339" imgH="34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C57EEA8-87A3-4F4A-8A88-C8CF94340B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pic>
        <p:nvPicPr>
          <p:cNvPr id="28" name="Graphic 27" descr="UiO segl">
            <a:extLst>
              <a:ext uri="{FF2B5EF4-FFF2-40B4-BE49-F238E27FC236}">
                <a16:creationId xmlns:a16="http://schemas.microsoft.com/office/drawing/2014/main" id="{AECCD3CC-AC27-4207-85D4-8056C1F5FDD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366813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akulte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16BE45C5-2FD6-4365-884E-E7211BA9F8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FC80015-4906-4750-9E68-18BCB837A81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15063" y="0"/>
            <a:ext cx="5976937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B116A28A-122D-47FC-B20F-2DE6D034FB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E981D0C6-9965-4EA6-835B-007DA74548C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1" name="addin_colorlist" hidden="1">
            <a:extLst>
              <a:ext uri="{FF2B5EF4-FFF2-40B4-BE49-F238E27FC236}">
                <a16:creationId xmlns:a16="http://schemas.microsoft.com/office/drawing/2014/main" id="{FB8D8BF6-D27B-473E-8C7F-5564EC4E8842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AEA2A8D1-CC8A-49D7-B5F3-4D3D31E797B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FA762AA7-0630-463D-983A-714A0FDC6D6B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BADFE346-6D41-462E-B93E-8A458125843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2F05EFBC-3D55-4A55-AC99-18A584A64FD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22529F69-78C3-4EA5-A8EF-DAED9CFEB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26D5A990-E30B-4E3A-A5A7-8F106A934EC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5634" y="2283763"/>
            <a:ext cx="5075367" cy="1650530"/>
          </a:xfrm>
        </p:spPr>
        <p:txBody>
          <a:bodyPr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16F080F3-F66D-44E1-A274-51E675B7D76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B993451-3DED-457B-B2BA-C0AD678BC4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E4C943B6-9D87-4707-9BC0-AB5D348B81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9138817D-ECF3-4F24-AB4D-EE86A7D38E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60581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63D537D-BDA7-442F-85CC-77B15D3E9EBA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9BE98BF2-9E12-4468-BCAE-2A3B441A6E8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EA343E91-A7F8-411F-8D9E-AD0CD04545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9353483E-A81E-4295-A996-3D67CCCC2E0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A0F37DB2-E675-4E63-AD01-1D4996198F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AF5E8745-EB5B-4C17-A308-AC6088BCA61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7CB7E83F-937E-4B9E-830A-492432F3A4E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B8980526-4F9F-495D-A07D-8D82934AE66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91721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3.sv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22D069C-C025-484F-B809-F6C0328593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2801709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31" imgW="339" imgH="343" progId="TCLayout.ActiveDocument.1">
                  <p:embed/>
                </p:oleObj>
              </mc:Choice>
              <mc:Fallback>
                <p:oleObj name="think-cell Slide" r:id="rId31" imgW="339" imgH="34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22D069C-C025-484F-B809-F6C0328593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94432" y="-180924"/>
            <a:ext cx="10515600" cy="13255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2529" y="1711312"/>
            <a:ext cx="5563433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0" y="626352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66367" y="6263528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rgbClr val="524B48"/>
                </a:solidFill>
              </a:defRPr>
            </a:lvl1pPr>
          </a:lstStyle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Graphic 10" descr="Logo Universitet i oslo">
            <a:extLst>
              <a:ext uri="{FF2B5EF4-FFF2-40B4-BE49-F238E27FC236}">
                <a16:creationId xmlns:a16="http://schemas.microsoft.com/office/drawing/2014/main" id="{C0E4FBEC-28F7-4C61-8732-186A1AAD3429}"/>
              </a:ext>
            </a:extLst>
          </p:cNvPr>
          <p:cNvPicPr>
            <a:picLocks noChangeAspect="1"/>
          </p:cNvPicPr>
          <p:nvPr userDrawn="1"/>
        </p:nvPicPr>
        <p:blipFill>
          <a:blip r:embed="rId33">
            <a:extLst>
              <a:ext uri="{96DAC541-7B7A-43D3-8B79-37D633B846F1}">
                <asvg:svgBlip xmlns:asvg="http://schemas.microsoft.com/office/drawing/2016/SVG/main" xmlns="" r:embed="rId34"/>
              </a:ext>
            </a:extLst>
          </a:blip>
          <a:stretch>
            <a:fillRect/>
          </a:stretch>
        </p:blipFill>
        <p:spPr>
          <a:xfrm>
            <a:off x="381001" y="6280142"/>
            <a:ext cx="1021262" cy="202980"/>
          </a:xfrm>
          <a:prstGeom prst="rect">
            <a:avLst/>
          </a:prstGeom>
        </p:spPr>
      </p:pic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45F9D6C5-6F73-4568-92A3-43149586B0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8" name="addin_colorpicker" hidden="1">
            <a:extLst>
              <a:ext uri="{FF2B5EF4-FFF2-40B4-BE49-F238E27FC236}">
                <a16:creationId xmlns:a16="http://schemas.microsoft.com/office/drawing/2014/main" id="{EC6BC642-49C3-4139-8F38-A96E75EE0920}"/>
              </a:ext>
            </a:extLst>
          </p:cNvPr>
          <p:cNvSpPr/>
          <p:nvPr userDrawn="1"/>
        </p:nvSpPr>
        <p:spPr>
          <a:xfrm>
            <a:off x="2486668" y="-1436292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addin_colorpicker</a:t>
            </a:r>
          </a:p>
        </p:txBody>
      </p:sp>
    </p:spTree>
    <p:extLst>
      <p:ext uri="{BB962C8B-B14F-4D97-AF65-F5344CB8AC3E}">
        <p14:creationId xmlns:p14="http://schemas.microsoft.com/office/powerpoint/2010/main" val="33922868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29" r:id="rId5"/>
    <p:sldLayoutId id="2147483726" r:id="rId6"/>
    <p:sldLayoutId id="2147483727" r:id="rId7"/>
    <p:sldLayoutId id="2147483728" r:id="rId8"/>
    <p:sldLayoutId id="2147483721" r:id="rId9"/>
    <p:sldLayoutId id="2147483720" r:id="rId10"/>
    <p:sldLayoutId id="2147483719" r:id="rId11"/>
    <p:sldLayoutId id="2147483701" r:id="rId12"/>
    <p:sldLayoutId id="2147483702" r:id="rId13"/>
    <p:sldLayoutId id="2147483704" r:id="rId14"/>
    <p:sldLayoutId id="2147483706" r:id="rId15"/>
    <p:sldLayoutId id="2147483716" r:id="rId16"/>
    <p:sldLayoutId id="2147483717" r:id="rId17"/>
    <p:sldLayoutId id="2147483713" r:id="rId18"/>
    <p:sldLayoutId id="2147483714" r:id="rId19"/>
    <p:sldLayoutId id="2147483709" r:id="rId20"/>
    <p:sldLayoutId id="2147483710" r:id="rId21"/>
    <p:sldLayoutId id="2147483711" r:id="rId22"/>
    <p:sldLayoutId id="2147483712" r:id="rId23"/>
    <p:sldLayoutId id="2147483707" r:id="rId24"/>
    <p:sldLayoutId id="2147483708" r:id="rId25"/>
    <p:sldLayoutId id="2147483715" r:id="rId26"/>
    <p:sldLayoutId id="2147483718" r:id="rId27"/>
  </p:sldLayoutIdLst>
  <p:hf hdr="0"/>
  <p:txStyles>
    <p:titleStyle>
      <a:lvl1pPr algn="l" defTabSz="914446" rtl="0" eaLnBrk="1" latinLnBrk="0" hangingPunct="1">
        <a:lnSpc>
          <a:spcPct val="90000"/>
        </a:lnSpc>
        <a:spcBef>
          <a:spcPct val="0"/>
        </a:spcBef>
        <a:buNone/>
        <a:defRPr sz="35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914446" rtl="0" eaLnBrk="1" latinLnBrk="0" hangingPunct="1">
        <a:lnSpc>
          <a:spcPct val="100000"/>
        </a:lnSpc>
        <a:spcBef>
          <a:spcPts val="1150"/>
        </a:spcBef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34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57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80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503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726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948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171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394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9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1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9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9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9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9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9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9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9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66D1C207-8E6F-F856-8D0C-4F05D5BBF019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1B0CB741-250C-1584-1EFC-A54689CC113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70A4445-9C2F-B852-FCB2-C080EBB71D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88D6712D-C227-04CA-E16B-98A2C89443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udiebarometeret 2022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000F2CA8-0297-22D4-991B-54FECD14FF6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dirty="0" err="1"/>
              <a:t>Noen</a:t>
            </a:r>
            <a:r>
              <a:rPr lang="en-US" dirty="0"/>
              <a:t> </a:t>
            </a:r>
            <a:r>
              <a:rPr lang="en-US" dirty="0" err="1"/>
              <a:t>hovedfunn</a:t>
            </a:r>
            <a:r>
              <a:rPr lang="en-US" dirty="0"/>
              <a:t> </a:t>
            </a:r>
            <a:r>
              <a:rPr lang="en-US" dirty="0" err="1"/>
              <a:t>og</a:t>
            </a:r>
            <a:r>
              <a:rPr lang="en-US" dirty="0"/>
              <a:t> </a:t>
            </a:r>
            <a:r>
              <a:rPr lang="en-US" dirty="0" err="1"/>
              <a:t>utfordringer</a:t>
            </a:r>
            <a:endParaRPr lang="en-US" dirty="0"/>
          </a:p>
        </p:txBody>
      </p:sp>
      <p:sp>
        <p:nvSpPr>
          <p:cNvPr id="13" name="Subtitle 12">
            <a:extLst>
              <a:ext uri="{FF2B5EF4-FFF2-40B4-BE49-F238E27FC236}">
                <a16:creationId xmlns:a16="http://schemas.microsoft.com/office/drawing/2014/main" id="{9EB75878-E9BE-6CFD-8E63-BA93D64A7F2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Kirsti Margrethe Mortensen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D7D733F8-EFDF-EAA6-34D6-CE214B45225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 err="1"/>
              <a:t>Seniorrådgiver</a:t>
            </a:r>
            <a:r>
              <a:rPr lang="en-US" dirty="0"/>
              <a:t>, SADM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D9DEB339-80A6-7BC2-D758-9306A07DD1B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FE0839F-7AF7-4025-2280-C28576AD39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24. </a:t>
            </a:r>
            <a:r>
              <a:rPr lang="en-US" dirty="0" err="1"/>
              <a:t>januar</a:t>
            </a:r>
            <a:r>
              <a:rPr lang="en-US" dirty="0"/>
              <a:t> 2023</a:t>
            </a:r>
          </a:p>
        </p:txBody>
      </p:sp>
    </p:spTree>
    <p:extLst>
      <p:ext uri="{BB962C8B-B14F-4D97-AF65-F5344CB8AC3E}">
        <p14:creationId xmlns:p14="http://schemas.microsoft.com/office/powerpoint/2010/main" val="133613184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Tidsbruk</a:t>
            </a:r>
          </a:p>
        </p:txBody>
      </p:sp>
      <p:pic>
        <p:nvPicPr>
          <p:cNvPr id="7" name="Plassholder for innhold 6">
            <a:extLst>
              <a:ext uri="{FF2B5EF4-FFF2-40B4-BE49-F238E27FC236}">
                <a16:creationId xmlns:a16="http://schemas.microsoft.com/office/drawing/2014/main" id="{5D5EA2E0-ABA3-BDF1-6F7F-34FF8BDCD887}"/>
              </a:ext>
            </a:extLst>
          </p:cNvPr>
          <p:cNvPicPr>
            <a:picLocks noGrp="1" noChangeAspect="1"/>
          </p:cNvPicPr>
          <p:nvPr>
            <p:ph sz="quarter" idx="28"/>
          </p:nvPr>
        </p:nvPicPr>
        <p:blipFill>
          <a:blip r:embed="rId2"/>
          <a:stretch>
            <a:fillRect/>
          </a:stretch>
        </p:blipFill>
        <p:spPr>
          <a:xfrm>
            <a:off x="360363" y="1956619"/>
            <a:ext cx="11471275" cy="2649987"/>
          </a:xfrm>
        </p:spPr>
      </p:pic>
    </p:spTree>
    <p:extLst>
      <p:ext uri="{BB962C8B-B14F-4D97-AF65-F5344CB8AC3E}">
        <p14:creationId xmlns:p14="http://schemas.microsoft.com/office/powerpoint/2010/main" val="48226684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Tilknytning til arbeidslivet</a:t>
            </a:r>
          </a:p>
        </p:txBody>
      </p:sp>
      <p:pic>
        <p:nvPicPr>
          <p:cNvPr id="7" name="Plassholder for innhold 6">
            <a:extLst>
              <a:ext uri="{FF2B5EF4-FFF2-40B4-BE49-F238E27FC236}">
                <a16:creationId xmlns:a16="http://schemas.microsoft.com/office/drawing/2014/main" id="{017D3C26-8BE5-F217-3F52-B5AF93156403}"/>
              </a:ext>
            </a:extLst>
          </p:cNvPr>
          <p:cNvPicPr>
            <a:picLocks noGrp="1" noChangeAspect="1"/>
          </p:cNvPicPr>
          <p:nvPr>
            <p:ph sz="quarter" idx="28"/>
          </p:nvPr>
        </p:nvPicPr>
        <p:blipFill>
          <a:blip r:embed="rId2"/>
          <a:stretch>
            <a:fillRect/>
          </a:stretch>
        </p:blipFill>
        <p:spPr>
          <a:xfrm>
            <a:off x="360363" y="1533299"/>
            <a:ext cx="11471275" cy="3916814"/>
          </a:xfrm>
        </p:spPr>
      </p:pic>
    </p:spTree>
    <p:extLst>
      <p:ext uri="{BB962C8B-B14F-4D97-AF65-F5344CB8AC3E}">
        <p14:creationId xmlns:p14="http://schemas.microsoft.com/office/powerpoint/2010/main" val="127024413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Tilknytning til arbeidslivet – fordelt på fakultet og år</a:t>
            </a:r>
          </a:p>
        </p:txBody>
      </p:sp>
      <p:sp>
        <p:nvSpPr>
          <p:cNvPr id="7" name="Rectangle 1">
            <a:extLst>
              <a:ext uri="{FF2B5EF4-FFF2-40B4-BE49-F238E27FC236}">
                <a16:creationId xmlns:a16="http://schemas.microsoft.com/office/drawing/2014/main" id="{B8E92DCE-ACF9-6E58-2B6D-5AB3207011E7}"/>
              </a:ext>
            </a:extLst>
          </p:cNvPr>
          <p:cNvSpPr>
            <a:spLocks noChangeArrowheads="1"/>
          </p:cNvSpPr>
          <p:nvPr/>
        </p:nvSpPr>
        <p:spPr bwMode="auto">
          <a:xfrm>
            <a:off x="-10339768" y="-288598"/>
            <a:ext cx="22531768" cy="7457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nb-NO"/>
          </a:p>
        </p:txBody>
      </p:sp>
      <p:pic>
        <p:nvPicPr>
          <p:cNvPr id="10" name="Plassholder for innhold 9" descr="Et bilde som inneholder bord&#10;&#10;Automatisk generert beskrivelse">
            <a:extLst>
              <a:ext uri="{FF2B5EF4-FFF2-40B4-BE49-F238E27FC236}">
                <a16:creationId xmlns:a16="http://schemas.microsoft.com/office/drawing/2014/main" id="{B5B101B8-3C0F-C8CC-8FFE-C05E25D1C654}"/>
              </a:ext>
            </a:extLst>
          </p:cNvPr>
          <p:cNvPicPr>
            <a:picLocks noGrp="1" noChangeAspect="1"/>
          </p:cNvPicPr>
          <p:nvPr>
            <p:ph sz="quarter" idx="28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6116" y="1798046"/>
            <a:ext cx="6370230" cy="3541416"/>
          </a:xfrm>
        </p:spPr>
      </p:pic>
    </p:spTree>
    <p:extLst>
      <p:ext uri="{BB962C8B-B14F-4D97-AF65-F5344CB8AC3E}">
        <p14:creationId xmlns:p14="http://schemas.microsoft.com/office/powerpoint/2010/main" val="5656766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Fritekstfelten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28"/>
          </p:nvPr>
        </p:nvSpPr>
        <p:spPr/>
        <p:txBody>
          <a:bodyPr/>
          <a:lstStyle/>
          <a:p>
            <a:r>
              <a:rPr lang="nb-NO"/>
              <a:t>Les dem!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46811666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53224" y="360045"/>
            <a:ext cx="11378730" cy="722681"/>
          </a:xfrm>
        </p:spPr>
        <p:txBody>
          <a:bodyPr/>
          <a:lstStyle/>
          <a:p>
            <a:r>
              <a:rPr lang="nb-NO" dirty="0"/>
              <a:t>Hva er Studiebarometeret?	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28"/>
          </p:nvPr>
        </p:nvSpPr>
        <p:spPr/>
        <p:txBody>
          <a:bodyPr/>
          <a:lstStyle/>
          <a:p>
            <a:pPr marL="457200" indent="-457200">
              <a:buAutoNum type="arabicPeriod"/>
            </a:pPr>
            <a:endParaRPr lang="nb-NO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/>
              <a:t>Nasjonal spørreundersøkelse som gjennomføres av </a:t>
            </a:r>
            <a:r>
              <a:rPr lang="nb-NO" dirty="0" err="1"/>
              <a:t>Nokut</a:t>
            </a:r>
            <a:r>
              <a:rPr lang="nb-NO" dirty="0"/>
              <a:t> på oppdrag fra KD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/>
              <a:t>Gjennomført for 10. gang høsten 2022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/>
              <a:t>Undersøker studentenes opplevde studiekvalitet på </a:t>
            </a:r>
            <a:r>
              <a:rPr lang="nb-NO" u="sng" dirty="0"/>
              <a:t>studieprogramnivå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/>
              <a:t>Alle studenter i andre og femte studieår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/>
              <a:t>Pilot 2022 – UiO deltar også med 3. </a:t>
            </a:r>
            <a:r>
              <a:rPr lang="nb-NO" dirty="0" err="1"/>
              <a:t>årsstudenter</a:t>
            </a:r>
            <a:r>
              <a:rPr lang="nb-NO" dirty="0"/>
              <a:t>. De er kun med i en av visningene av tallene som presenteres her i dag. Disse vil heller ikke inngå i det som i første omgang presenteres ved den nasjonale lanseringen 16. februar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/>
              <a:t>Resultatene inngår i fakultetenes, instituttenes og studieprogrammenes studiekvalitetsarbeid.  </a:t>
            </a:r>
          </a:p>
        </p:txBody>
      </p:sp>
    </p:spTree>
    <p:extLst>
      <p:ext uri="{BB962C8B-B14F-4D97-AF65-F5344CB8AC3E}">
        <p14:creationId xmlns:p14="http://schemas.microsoft.com/office/powerpoint/2010/main" val="299967282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Datakvalitet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28"/>
          </p:nvPr>
        </p:nvSpPr>
        <p:spPr/>
        <p:txBody>
          <a:bodyPr/>
          <a:lstStyle/>
          <a:p>
            <a:pPr marL="0" indent="0"/>
            <a:endParaRPr lang="nb-NO" sz="1800" dirty="0">
              <a:highlight>
                <a:srgbClr val="FFFF00"/>
              </a:highlight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1800" dirty="0"/>
              <a:t>1 567 studenter ved 138 studieprogrammer ved UiO svart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1800" dirty="0"/>
              <a:t>Svarprosenten er markant synkende - 38 % i 2020, 32 % i 2021 og 25 % i 2022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1800" dirty="0"/>
              <a:t>Den nasjonale svarprosenten var 39,5 i 2022 %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1800" dirty="0"/>
              <a:t>Svarprosenten </a:t>
            </a:r>
            <a:r>
              <a:rPr lang="nb-NO" sz="1800" dirty="0">
                <a:sym typeface="Wingdings" panose="05000000000000000000" pitchFamily="2" charset="2"/>
              </a:rPr>
              <a:t> resultatenes validitet og reliabilite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1800" dirty="0">
                <a:solidFill>
                  <a:srgbClr val="000000"/>
                </a:solidFill>
                <a:effectLst/>
                <a:ea typeface="Calibri" panose="020F0502020204030204" pitchFamily="34" charset="0"/>
              </a:rPr>
              <a:t>Kun 46 av 138 studieprogrammer når terskelverdien for å publiseres på studiebarometeret.no . Det utgjør 33 </a:t>
            </a:r>
            <a:r>
              <a:rPr lang="nb-NO" sz="1800" dirty="0" err="1">
                <a:solidFill>
                  <a:srgbClr val="000000"/>
                </a:solidFill>
                <a:effectLst/>
                <a:ea typeface="Calibri" panose="020F0502020204030204" pitchFamily="34" charset="0"/>
              </a:rPr>
              <a:t>ish</a:t>
            </a:r>
            <a:r>
              <a:rPr lang="nb-NO" sz="1800" dirty="0">
                <a:solidFill>
                  <a:srgbClr val="000000"/>
                </a:solidFill>
                <a:effectLst/>
                <a:ea typeface="Calibri" panose="020F0502020204030204" pitchFamily="34" charset="0"/>
              </a:rPr>
              <a:t> i %... De betyr at kun 46 av de 138 studieprogrammene kan sammenligne seg med tilsvarende programmer nasjonalt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1800" dirty="0">
                <a:solidFill>
                  <a:srgbClr val="000000"/>
                </a:solidFill>
                <a:effectLst/>
                <a:ea typeface="Calibri" panose="020F0502020204030204" pitchFamily="34" charset="0"/>
              </a:rPr>
              <a:t>85 av 138 studieprogrammer når terskelverdien til at det utarbeides rapporter via Rambøll og i </a:t>
            </a:r>
            <a:r>
              <a:rPr lang="nb-NO" sz="1800" dirty="0" err="1">
                <a:solidFill>
                  <a:srgbClr val="000000"/>
                </a:solidFill>
                <a:effectLst/>
                <a:ea typeface="Calibri" panose="020F0502020204030204" pitchFamily="34" charset="0"/>
              </a:rPr>
              <a:t>Tableau</a:t>
            </a:r>
            <a:r>
              <a:rPr lang="nb-NO" sz="1800" dirty="0">
                <a:solidFill>
                  <a:srgbClr val="000000"/>
                </a:solidFill>
                <a:effectLst/>
                <a:ea typeface="Calibri" panose="020F0502020204030204" pitchFamily="34" charset="0"/>
              </a:rPr>
              <a:t>. Det betyr at 62 % </a:t>
            </a:r>
            <a:r>
              <a:rPr lang="nb-NO" sz="1800" dirty="0" err="1">
                <a:solidFill>
                  <a:srgbClr val="000000"/>
                </a:solidFill>
                <a:effectLst/>
                <a:ea typeface="Calibri" panose="020F0502020204030204" pitchFamily="34" charset="0"/>
              </a:rPr>
              <a:t>ish</a:t>
            </a:r>
            <a:r>
              <a:rPr lang="nb-NO" sz="1800" dirty="0">
                <a:ea typeface="Calibri" panose="020F0502020204030204" pitchFamily="34" charset="0"/>
              </a:rPr>
              <a:t> av våre undersøkte studieprogrammer får resultater de kan analysere</a:t>
            </a:r>
            <a:r>
              <a:rPr lang="nb-NO" sz="1800" dirty="0">
                <a:solidFill>
                  <a:srgbClr val="000000"/>
                </a:solidFill>
                <a:effectLst/>
                <a:ea typeface="Calibri" panose="020F0502020204030204" pitchFamily="34" charset="0"/>
              </a:rPr>
              <a:t>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1800" dirty="0">
                <a:ea typeface="Calibri" panose="020F0502020204030204" pitchFamily="34" charset="0"/>
              </a:rPr>
              <a:t>Ytterligere utfordringer ved at m</a:t>
            </a:r>
            <a:r>
              <a:rPr lang="nb-NO" sz="1800" dirty="0">
                <a:solidFill>
                  <a:srgbClr val="000000"/>
                </a:solidFill>
                <a:effectLst/>
                <a:ea typeface="Calibri" panose="020F0502020204030204" pitchFamily="34" charset="0"/>
              </a:rPr>
              <a:t>ange av respondentene ikke svarer på alle spørsmålene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1800" dirty="0">
                <a:solidFill>
                  <a:srgbClr val="000000"/>
                </a:solidFill>
                <a:effectLst/>
                <a:ea typeface="Calibri" panose="020F0502020204030204" pitchFamily="34" charset="0"/>
              </a:rPr>
              <a:t>Flere programmer kan nå terskelen for visning </a:t>
            </a:r>
            <a:r>
              <a:rPr lang="nb-NO" sz="1800" dirty="0">
                <a:ea typeface="Calibri" panose="020F0502020204030204" pitchFamily="34" charset="0"/>
              </a:rPr>
              <a:t>på studiebarometeret.no </a:t>
            </a:r>
            <a:r>
              <a:rPr lang="nb-NO" sz="1800" dirty="0">
                <a:solidFill>
                  <a:srgbClr val="000000"/>
                </a:solidFill>
                <a:effectLst/>
                <a:ea typeface="Calibri" panose="020F0502020204030204" pitchFamily="34" charset="0"/>
              </a:rPr>
              <a:t>når </a:t>
            </a:r>
            <a:r>
              <a:rPr lang="nb-NO" sz="1800" dirty="0" err="1">
                <a:solidFill>
                  <a:srgbClr val="000000"/>
                </a:solidFill>
                <a:effectLst/>
                <a:ea typeface="Calibri" panose="020F0502020204030204" pitchFamily="34" charset="0"/>
              </a:rPr>
              <a:t>Nokut</a:t>
            </a:r>
            <a:r>
              <a:rPr lang="nb-NO" sz="1800" dirty="0">
                <a:solidFill>
                  <a:srgbClr val="000000"/>
                </a:solidFill>
                <a:effectLst/>
                <a:ea typeface="Calibri" panose="020F0502020204030204" pitchFamily="34" charset="0"/>
              </a:rPr>
              <a:t> om kort tid slår sammen resultater med fjoråret, men gjør det resultatene godt brukbare  - tja... </a:t>
            </a:r>
            <a:r>
              <a:rPr lang="nb-NO" sz="2000" dirty="0">
                <a:solidFill>
                  <a:srgbClr val="000000"/>
                </a:solidFill>
                <a:effectLst/>
                <a:ea typeface="Calibri" panose="020F0502020204030204" pitchFamily="34" charset="0"/>
              </a:rPr>
              <a:t/>
            </a:r>
            <a:br>
              <a:rPr lang="nb-NO" sz="2000" dirty="0">
                <a:solidFill>
                  <a:srgbClr val="000000"/>
                </a:solidFill>
                <a:effectLst/>
                <a:ea typeface="Calibri" panose="020F0502020204030204" pitchFamily="34" charset="0"/>
              </a:rPr>
            </a:br>
            <a:endParaRPr lang="nb-NO" sz="2000" dirty="0">
              <a:solidFill>
                <a:srgbClr val="000000"/>
              </a:solidFill>
              <a:effectLst/>
              <a:ea typeface="Calibri" panose="020F050202020403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nb-NO" dirty="0"/>
          </a:p>
          <a:p>
            <a:pPr marL="903296" lvl="1" indent="-342900"/>
            <a:endParaRPr lang="nb-NO" dirty="0"/>
          </a:p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46135246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Indekser med sammenligninger nasjonalt og mot 2021</a:t>
            </a:r>
          </a:p>
        </p:txBody>
      </p:sp>
      <p:pic>
        <p:nvPicPr>
          <p:cNvPr id="7" name="Plassholder for innhold 6">
            <a:extLst>
              <a:ext uri="{FF2B5EF4-FFF2-40B4-BE49-F238E27FC236}">
                <a16:creationId xmlns:a16="http://schemas.microsoft.com/office/drawing/2014/main" id="{AC0A3B1C-2D19-63F5-58C6-349E77EB1F63}"/>
              </a:ext>
            </a:extLst>
          </p:cNvPr>
          <p:cNvPicPr>
            <a:picLocks noGrp="1" noChangeAspect="1"/>
          </p:cNvPicPr>
          <p:nvPr>
            <p:ph sz="quarter" idx="28"/>
          </p:nvPr>
        </p:nvPicPr>
        <p:blipFill>
          <a:blip r:embed="rId2"/>
          <a:stretch>
            <a:fillRect/>
          </a:stretch>
        </p:blipFill>
        <p:spPr>
          <a:xfrm>
            <a:off x="1400175" y="1466997"/>
            <a:ext cx="9391650" cy="4067175"/>
          </a:xfrm>
        </p:spPr>
      </p:pic>
    </p:spTree>
    <p:extLst>
      <p:ext uri="{BB962C8B-B14F-4D97-AF65-F5344CB8AC3E}">
        <p14:creationId xmlns:p14="http://schemas.microsoft.com/office/powerpoint/2010/main" val="43411598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Indekser fordelt på fakultet</a:t>
            </a:r>
          </a:p>
        </p:txBody>
      </p:sp>
      <p:pic>
        <p:nvPicPr>
          <p:cNvPr id="12" name="Plassholder for innhold 11" descr="Et bilde som inneholder bord&#10;&#10;Automatisk generert beskrivelse">
            <a:extLst>
              <a:ext uri="{FF2B5EF4-FFF2-40B4-BE49-F238E27FC236}">
                <a16:creationId xmlns:a16="http://schemas.microsoft.com/office/drawing/2014/main" id="{7AC862B7-FDC0-B1CE-A3DD-F27B195B7FE4}"/>
              </a:ext>
            </a:extLst>
          </p:cNvPr>
          <p:cNvPicPr>
            <a:picLocks noGrp="1" noChangeAspect="1"/>
          </p:cNvPicPr>
          <p:nvPr>
            <p:ph sz="quarter" idx="28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547" y="1913641"/>
            <a:ext cx="11987230" cy="3073648"/>
          </a:xfrm>
        </p:spPr>
      </p:pic>
    </p:spTree>
    <p:extLst>
      <p:ext uri="{BB962C8B-B14F-4D97-AF65-F5344CB8AC3E}">
        <p14:creationId xmlns:p14="http://schemas.microsoft.com/office/powerpoint/2010/main" val="353084256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Topp- og bunnscore på enkeltspørsmål</a:t>
            </a:r>
          </a:p>
        </p:txBody>
      </p:sp>
      <p:pic>
        <p:nvPicPr>
          <p:cNvPr id="7" name="Plassholder for innhold 6">
            <a:extLst>
              <a:ext uri="{FF2B5EF4-FFF2-40B4-BE49-F238E27FC236}">
                <a16:creationId xmlns:a16="http://schemas.microsoft.com/office/drawing/2014/main" id="{B32038AC-F646-08A8-657C-66032A64359D}"/>
              </a:ext>
            </a:extLst>
          </p:cNvPr>
          <p:cNvPicPr>
            <a:picLocks noGrp="1" noChangeAspect="1"/>
          </p:cNvPicPr>
          <p:nvPr>
            <p:ph sz="quarter" idx="28"/>
          </p:nvPr>
        </p:nvPicPr>
        <p:blipFill>
          <a:blip r:embed="rId2"/>
          <a:stretch>
            <a:fillRect/>
          </a:stretch>
        </p:blipFill>
        <p:spPr>
          <a:xfrm>
            <a:off x="1479851" y="1082675"/>
            <a:ext cx="9232299" cy="4818063"/>
          </a:xfrm>
        </p:spPr>
      </p:pic>
    </p:spTree>
    <p:extLst>
      <p:ext uri="{BB962C8B-B14F-4D97-AF65-F5344CB8AC3E}">
        <p14:creationId xmlns:p14="http://schemas.microsoft.com/office/powerpoint/2010/main" val="132541641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Overordna tilfredshet </a:t>
            </a:r>
          </a:p>
        </p:txBody>
      </p:sp>
      <p:pic>
        <p:nvPicPr>
          <p:cNvPr id="15" name="Plassholder for innhold 14">
            <a:extLst>
              <a:ext uri="{FF2B5EF4-FFF2-40B4-BE49-F238E27FC236}">
                <a16:creationId xmlns:a16="http://schemas.microsoft.com/office/drawing/2014/main" id="{67B039EB-4474-27B7-7AA0-09B3F9648EB1}"/>
              </a:ext>
            </a:extLst>
          </p:cNvPr>
          <p:cNvPicPr>
            <a:picLocks noGrp="1" noChangeAspect="1"/>
          </p:cNvPicPr>
          <p:nvPr>
            <p:ph sz="quarter" idx="28"/>
          </p:nvPr>
        </p:nvPicPr>
        <p:blipFill>
          <a:blip r:embed="rId2"/>
          <a:stretch>
            <a:fillRect/>
          </a:stretch>
        </p:blipFill>
        <p:spPr>
          <a:xfrm>
            <a:off x="360363" y="2376079"/>
            <a:ext cx="11471275" cy="2231254"/>
          </a:xfrm>
        </p:spPr>
      </p:pic>
    </p:spTree>
    <p:extLst>
      <p:ext uri="{BB962C8B-B14F-4D97-AF65-F5344CB8AC3E}">
        <p14:creationId xmlns:p14="http://schemas.microsoft.com/office/powerpoint/2010/main" val="169802858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Overordna tilfredshet fordelt på fakultet og over tid</a:t>
            </a:r>
          </a:p>
        </p:txBody>
      </p:sp>
      <p:pic>
        <p:nvPicPr>
          <p:cNvPr id="11" name="Plassholder for innhold 10" descr="Et bilde som inneholder bord&#10;&#10;Automatisk generert beskrivelse">
            <a:extLst>
              <a:ext uri="{FF2B5EF4-FFF2-40B4-BE49-F238E27FC236}">
                <a16:creationId xmlns:a16="http://schemas.microsoft.com/office/drawing/2014/main" id="{8CF1EF95-B166-C17F-8B2A-5D308BBECED4}"/>
              </a:ext>
            </a:extLst>
          </p:cNvPr>
          <p:cNvPicPr>
            <a:picLocks noGrp="1" noChangeAspect="1"/>
          </p:cNvPicPr>
          <p:nvPr>
            <p:ph sz="quarter" idx="28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0371" y="1467818"/>
            <a:ext cx="7055471" cy="3922364"/>
          </a:xfrm>
        </p:spPr>
      </p:pic>
    </p:spTree>
    <p:extLst>
      <p:ext uri="{BB962C8B-B14F-4D97-AF65-F5344CB8AC3E}">
        <p14:creationId xmlns:p14="http://schemas.microsoft.com/office/powerpoint/2010/main" val="426942007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Overordna tilfredshet fordelt på studienivå</a:t>
            </a:r>
          </a:p>
        </p:txBody>
      </p:sp>
      <p:pic>
        <p:nvPicPr>
          <p:cNvPr id="7" name="Plassholder for innhold 6">
            <a:extLst>
              <a:ext uri="{FF2B5EF4-FFF2-40B4-BE49-F238E27FC236}">
                <a16:creationId xmlns:a16="http://schemas.microsoft.com/office/drawing/2014/main" id="{AA6B2315-F0BD-C1C3-0640-C165CD90DA52}"/>
              </a:ext>
            </a:extLst>
          </p:cNvPr>
          <p:cNvPicPr>
            <a:picLocks noGrp="1" noChangeAspect="1"/>
          </p:cNvPicPr>
          <p:nvPr>
            <p:ph sz="quarter" idx="28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044" y="1740206"/>
            <a:ext cx="11471275" cy="3239050"/>
          </a:xfrm>
        </p:spPr>
      </p:pic>
    </p:spTree>
    <p:extLst>
      <p:ext uri="{BB962C8B-B14F-4D97-AF65-F5344CB8AC3E}">
        <p14:creationId xmlns:p14="http://schemas.microsoft.com/office/powerpoint/2010/main" val="19989705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B6666"/>
      </a:accent1>
      <a:accent2>
        <a:srgbClr val="FFFEA7"/>
      </a:accent2>
      <a:accent3>
        <a:srgbClr val="86A4F7"/>
      </a:accent3>
      <a:accent4>
        <a:srgbClr val="E6ECFF"/>
      </a:accent4>
      <a:accent5>
        <a:srgbClr val="FEA11B"/>
      </a:accent5>
      <a:accent6>
        <a:srgbClr val="3E31D6"/>
      </a:accent6>
      <a:hlink>
        <a:srgbClr val="0563C1"/>
      </a:hlink>
      <a:folHlink>
        <a:srgbClr val="954F72"/>
      </a:folHlink>
    </a:clrScheme>
    <a:fontScheme name="Custom 1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iO_PPT_NO.potx" id="{1743C27B-9688-4D04-AF9C-788DD1657B6E}" vid="{2CEB4690-DFC0-4F66-8E22-21C9E6A1EB41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F9AF723F66F5194BA577C71EC94BEFDC" ma:contentTypeVersion="2" ma:contentTypeDescription="Opprett et nytt dokument." ma:contentTypeScope="" ma:versionID="9a2c225006a1ee462a930c2b741cbb52">
  <xsd:schema xmlns:xsd="http://www.w3.org/2001/XMLSchema" xmlns:xs="http://www.w3.org/2001/XMLSchema" xmlns:p="http://schemas.microsoft.com/office/2006/metadata/properties" xmlns:ns2="51b60cdc-fcc3-4371-9f7d-eebc3cfc6382" targetNamespace="http://schemas.microsoft.com/office/2006/metadata/properties" ma:root="true" ma:fieldsID="bf5af7b197793f5ec37de63567e7c602" ns2:_="">
    <xsd:import namespace="51b60cdc-fcc3-4371-9f7d-eebc3cfc638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1b60cdc-fcc3-4371-9f7d-eebc3cfc638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9B9CF10-6C6A-444C-B05E-E78C1785A52C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51b60cdc-fcc3-4371-9f7d-eebc3cfc6382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684213E5-2D10-47A0-9EC6-16DB2B77A2C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C6042ECF-B483-41B5-BBEE-992E5C1558E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1b60cdc-fcc3-4371-9f7d-eebc3cfc638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UiO Norsk</Template>
  <TotalTime>7062</TotalTime>
  <Words>337</Words>
  <Application>Microsoft Office PowerPoint</Application>
  <PresentationFormat>Widescreen</PresentationFormat>
  <Paragraphs>47</Paragraphs>
  <Slides>1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9" baseType="lpstr">
      <vt:lpstr>Arial</vt:lpstr>
      <vt:lpstr>Arial, sans-serif</vt:lpstr>
      <vt:lpstr>Calibri</vt:lpstr>
      <vt:lpstr>Wingdings</vt:lpstr>
      <vt:lpstr>Office Theme</vt:lpstr>
      <vt:lpstr>think-cell Slide</vt:lpstr>
      <vt:lpstr>Studiebarometeret 2022</vt:lpstr>
      <vt:lpstr>Hva er Studiebarometeret? </vt:lpstr>
      <vt:lpstr>Datakvalitet</vt:lpstr>
      <vt:lpstr>Indekser med sammenligninger nasjonalt og mot 2021</vt:lpstr>
      <vt:lpstr>Indekser fordelt på fakultet</vt:lpstr>
      <vt:lpstr>Topp- og bunnscore på enkeltspørsmål</vt:lpstr>
      <vt:lpstr>Overordna tilfredshet </vt:lpstr>
      <vt:lpstr>Overordna tilfredshet fordelt på fakultet og over tid</vt:lpstr>
      <vt:lpstr>Overordna tilfredshet fordelt på studienivå</vt:lpstr>
      <vt:lpstr>Tidsbruk</vt:lpstr>
      <vt:lpstr>Tilknytning til arbeidslivet</vt:lpstr>
      <vt:lpstr>Tilknytning til arbeidslivet – fordelt på fakultet og år</vt:lpstr>
      <vt:lpstr>Fritekstfeltene</vt:lpstr>
    </vt:vector>
  </TitlesOfParts>
  <Company>Universitetet i Oslo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ppfølging av UiOs eksterne evaluring av meritteringsordningen</dc:title>
  <dc:creator>Kirsti Margrethe Mortensen</dc:creator>
  <cp:lastModifiedBy>Kristin Beathe Hansen</cp:lastModifiedBy>
  <cp:revision>30</cp:revision>
  <dcterms:created xsi:type="dcterms:W3CDTF">2023-01-10T16:04:43Z</dcterms:created>
  <dcterms:modified xsi:type="dcterms:W3CDTF">2023-03-24T08:14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9AF723F66F5194BA577C71EC94BEFDC</vt:lpwstr>
  </property>
  <property fmtid="{D5CDD505-2E9C-101B-9397-08002B2CF9AE}" pid="3" name="MediaServiceImageTags">
    <vt:lpwstr/>
  </property>
  <property fmtid="{D5CDD505-2E9C-101B-9397-08002B2CF9AE}" pid="4" name="_dlc_DocIdItemGuid">
    <vt:lpwstr>e1ba8df5-1c55-4d83-8486-5b6b738896d5</vt:lpwstr>
  </property>
</Properties>
</file>